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11" r:id="rId4"/>
    <p:sldMasterId id="2147483692" r:id="rId5"/>
  </p:sldMasterIdLst>
  <p:notesMasterIdLst>
    <p:notesMasterId r:id="rId10"/>
  </p:notesMasterIdLst>
  <p:handoutMasterIdLst>
    <p:handoutMasterId r:id="rId11"/>
  </p:handoutMasterIdLst>
  <p:sldIdLst>
    <p:sldId id="288" r:id="rId6"/>
    <p:sldId id="2147374852" r:id="rId7"/>
    <p:sldId id="305" r:id="rId8"/>
    <p:sldId id="439" r:id="rId9"/>
  </p:sldIdLst>
  <p:sldSz cx="20104100" cy="11309350"/>
  <p:notesSz cx="20104100" cy="113093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ugénie Bacher" initials="EB" lastIdx="1" clrIdx="0">
    <p:extLst>
      <p:ext uri="{19B8F6BF-5375-455C-9EA6-DF929625EA0E}">
        <p15:presenceInfo xmlns:p15="http://schemas.microsoft.com/office/powerpoint/2012/main" userId="S::eugenie.bacher@bettercotton.org::1c8880ff-e483-47d6-9962-043a2a1822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BC9"/>
    <a:srgbClr val="7E6997"/>
    <a:srgbClr val="FFFFFF"/>
    <a:srgbClr val="2E9C75"/>
    <a:srgbClr val="DEEAF2"/>
    <a:srgbClr val="D2E3EE"/>
    <a:srgbClr val="219683"/>
    <a:srgbClr val="F3F2F1"/>
    <a:srgbClr val="399C94"/>
    <a:srgbClr val="44A9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C9C868-AE14-4B3C-A5DF-FDD49B960046}" v="79" dt="2023-06-19T20:24:15.542"/>
    <p1510:client id="{A236E636-B115-44A7-8389-A460ECA142FB}" v="354" dt="2023-06-20T16:00:24.61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74" y="8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a Cruz" userId="b0f71b28-16e3-44a7-b9d4-cbd6d38f3b0b" providerId="ADAL" clId="{C29845DB-5328-4AFF-A359-B1681B2A9272}"/>
    <pc:docChg chg="custSel addSld delSld modSld">
      <pc:chgData name="Lara Cruz" userId="b0f71b28-16e3-44a7-b9d4-cbd6d38f3b0b" providerId="ADAL" clId="{C29845DB-5328-4AFF-A359-B1681B2A9272}" dt="2023-06-19T12:33:40.313" v="256" actId="1076"/>
      <pc:docMkLst>
        <pc:docMk/>
      </pc:docMkLst>
      <pc:sldChg chg="modSp mod">
        <pc:chgData name="Lara Cruz" userId="b0f71b28-16e3-44a7-b9d4-cbd6d38f3b0b" providerId="ADAL" clId="{C29845DB-5328-4AFF-A359-B1681B2A9272}" dt="2023-06-16T13:22:57.892" v="8" actId="20577"/>
        <pc:sldMkLst>
          <pc:docMk/>
          <pc:sldMk cId="859432995" sldId="283"/>
        </pc:sldMkLst>
        <pc:spChg chg="mod">
          <ac:chgData name="Lara Cruz" userId="b0f71b28-16e3-44a7-b9d4-cbd6d38f3b0b" providerId="ADAL" clId="{C29845DB-5328-4AFF-A359-B1681B2A9272}" dt="2023-06-16T13:22:57.892" v="8" actId="20577"/>
          <ac:spMkLst>
            <pc:docMk/>
            <pc:sldMk cId="859432995" sldId="283"/>
            <ac:spMk id="20" creationId="{45792D2E-6BEE-4838-AE92-3B32AE5DBD33}"/>
          </ac:spMkLst>
        </pc:spChg>
      </pc:sldChg>
      <pc:sldChg chg="addSp modSp mod">
        <pc:chgData name="Lara Cruz" userId="b0f71b28-16e3-44a7-b9d4-cbd6d38f3b0b" providerId="ADAL" clId="{C29845DB-5328-4AFF-A359-B1681B2A9272}" dt="2023-06-16T13:22:40.666" v="4" actId="1076"/>
        <pc:sldMkLst>
          <pc:docMk/>
          <pc:sldMk cId="120730173" sldId="286"/>
        </pc:sldMkLst>
        <pc:spChg chg="add mod">
          <ac:chgData name="Lara Cruz" userId="b0f71b28-16e3-44a7-b9d4-cbd6d38f3b0b" providerId="ADAL" clId="{C29845DB-5328-4AFF-A359-B1681B2A9272}" dt="2023-06-16T13:22:40.666" v="4" actId="1076"/>
          <ac:spMkLst>
            <pc:docMk/>
            <pc:sldMk cId="120730173" sldId="286"/>
            <ac:spMk id="16" creationId="{DB982707-EE72-5AB2-F576-B8A26E6C71B0}"/>
          </ac:spMkLst>
        </pc:spChg>
        <pc:spChg chg="mod">
          <ac:chgData name="Lara Cruz" userId="b0f71b28-16e3-44a7-b9d4-cbd6d38f3b0b" providerId="ADAL" clId="{C29845DB-5328-4AFF-A359-B1681B2A9272}" dt="2023-06-16T13:22:34.667" v="2" actId="20577"/>
          <ac:spMkLst>
            <pc:docMk/>
            <pc:sldMk cId="120730173" sldId="286"/>
            <ac:spMk id="30" creationId="{49684836-729A-C5FF-B659-FFAE8C574073}"/>
          </ac:spMkLst>
        </pc:spChg>
      </pc:sldChg>
      <pc:sldChg chg="modSp mod">
        <pc:chgData name="Lara Cruz" userId="b0f71b28-16e3-44a7-b9d4-cbd6d38f3b0b" providerId="ADAL" clId="{C29845DB-5328-4AFF-A359-B1681B2A9272}" dt="2023-06-16T13:23:03.835" v="11" actId="20577"/>
        <pc:sldMkLst>
          <pc:docMk/>
          <pc:sldMk cId="824739939" sldId="288"/>
        </pc:sldMkLst>
        <pc:spChg chg="mod">
          <ac:chgData name="Lara Cruz" userId="b0f71b28-16e3-44a7-b9d4-cbd6d38f3b0b" providerId="ADAL" clId="{C29845DB-5328-4AFF-A359-B1681B2A9272}" dt="2023-06-16T13:23:03.835" v="11" actId="20577"/>
          <ac:spMkLst>
            <pc:docMk/>
            <pc:sldMk cId="824739939" sldId="288"/>
            <ac:spMk id="25" creationId="{DB19D8FE-B649-8745-B5DA-03209BD04D6F}"/>
          </ac:spMkLst>
        </pc:spChg>
      </pc:sldChg>
      <pc:sldChg chg="addSp delSp modSp mod">
        <pc:chgData name="Lara Cruz" userId="b0f71b28-16e3-44a7-b9d4-cbd6d38f3b0b" providerId="ADAL" clId="{C29845DB-5328-4AFF-A359-B1681B2A9272}" dt="2023-06-16T16:14:18.230" v="203" actId="1076"/>
        <pc:sldMkLst>
          <pc:docMk/>
          <pc:sldMk cId="2385738458" sldId="289"/>
        </pc:sldMkLst>
        <pc:cxnChg chg="add mod">
          <ac:chgData name="Lara Cruz" userId="b0f71b28-16e3-44a7-b9d4-cbd6d38f3b0b" providerId="ADAL" clId="{C29845DB-5328-4AFF-A359-B1681B2A9272}" dt="2023-06-16T16:14:18.230" v="203" actId="1076"/>
          <ac:cxnSpMkLst>
            <pc:docMk/>
            <pc:sldMk cId="2385738458" sldId="289"/>
            <ac:cxnSpMk id="3" creationId="{8C3FF146-232B-1678-8E08-B582BB11D310}"/>
          </ac:cxnSpMkLst>
        </pc:cxnChg>
        <pc:cxnChg chg="del">
          <ac:chgData name="Lara Cruz" userId="b0f71b28-16e3-44a7-b9d4-cbd6d38f3b0b" providerId="ADAL" clId="{C29845DB-5328-4AFF-A359-B1681B2A9272}" dt="2023-06-16T16:14:13.175" v="201" actId="478"/>
          <ac:cxnSpMkLst>
            <pc:docMk/>
            <pc:sldMk cId="2385738458" sldId="289"/>
            <ac:cxnSpMk id="23" creationId="{EB2D47C8-B163-4B3B-BC37-222578A82313}"/>
          </ac:cxnSpMkLst>
        </pc:cxnChg>
      </pc:sldChg>
      <pc:sldChg chg="modSp mod">
        <pc:chgData name="Lara Cruz" userId="b0f71b28-16e3-44a7-b9d4-cbd6d38f3b0b" providerId="ADAL" clId="{C29845DB-5328-4AFF-A359-B1681B2A9272}" dt="2023-06-16T16:11:25.717" v="160" actId="122"/>
        <pc:sldMkLst>
          <pc:docMk/>
          <pc:sldMk cId="257024696" sldId="299"/>
        </pc:sldMkLst>
        <pc:spChg chg="mod">
          <ac:chgData name="Lara Cruz" userId="b0f71b28-16e3-44a7-b9d4-cbd6d38f3b0b" providerId="ADAL" clId="{C29845DB-5328-4AFF-A359-B1681B2A9272}" dt="2023-06-16T16:11:25.717" v="160" actId="122"/>
          <ac:spMkLst>
            <pc:docMk/>
            <pc:sldMk cId="257024696" sldId="299"/>
            <ac:spMk id="3" creationId="{74D38EA8-9FE9-9047-3397-C82BB1BC2151}"/>
          </ac:spMkLst>
        </pc:spChg>
      </pc:sldChg>
      <pc:sldChg chg="modSp mod">
        <pc:chgData name="Lara Cruz" userId="b0f71b28-16e3-44a7-b9d4-cbd6d38f3b0b" providerId="ADAL" clId="{C29845DB-5328-4AFF-A359-B1681B2A9272}" dt="2023-06-19T12:33:40.313" v="256" actId="1076"/>
        <pc:sldMkLst>
          <pc:docMk/>
          <pc:sldMk cId="4009788007" sldId="301"/>
        </pc:sldMkLst>
        <pc:spChg chg="mod">
          <ac:chgData name="Lara Cruz" userId="b0f71b28-16e3-44a7-b9d4-cbd6d38f3b0b" providerId="ADAL" clId="{C29845DB-5328-4AFF-A359-B1681B2A9272}" dt="2023-06-19T12:33:40.313" v="256" actId="1076"/>
          <ac:spMkLst>
            <pc:docMk/>
            <pc:sldMk cId="4009788007" sldId="301"/>
            <ac:spMk id="3" creationId="{83974190-FD30-7FB7-9CD0-5BEC4D3EDC3E}"/>
          </ac:spMkLst>
        </pc:spChg>
      </pc:sldChg>
      <pc:sldChg chg="add setBg">
        <pc:chgData name="Lara Cruz" userId="b0f71b28-16e3-44a7-b9d4-cbd6d38f3b0b" providerId="ADAL" clId="{C29845DB-5328-4AFF-A359-B1681B2A9272}" dt="2023-06-19T12:10:25.620" v="208"/>
        <pc:sldMkLst>
          <pc:docMk/>
          <pc:sldMk cId="3691442879" sldId="6816"/>
        </pc:sldMkLst>
      </pc:sldChg>
      <pc:sldChg chg="mod modShow">
        <pc:chgData name="Lara Cruz" userId="b0f71b28-16e3-44a7-b9d4-cbd6d38f3b0b" providerId="ADAL" clId="{C29845DB-5328-4AFF-A359-B1681B2A9272}" dt="2023-06-19T12:08:03.853" v="204" actId="729"/>
        <pc:sldMkLst>
          <pc:docMk/>
          <pc:sldMk cId="506989637" sldId="2147374855"/>
        </pc:sldMkLst>
      </pc:sldChg>
      <pc:sldChg chg="addSp delSp modSp mod setBg delAnim">
        <pc:chgData name="Lara Cruz" userId="b0f71b28-16e3-44a7-b9d4-cbd6d38f3b0b" providerId="ADAL" clId="{C29845DB-5328-4AFF-A359-B1681B2A9272}" dt="2023-06-16T16:01:54.437" v="107" actId="403"/>
        <pc:sldMkLst>
          <pc:docMk/>
          <pc:sldMk cId="3951829472" sldId="2147374860"/>
        </pc:sldMkLst>
        <pc:spChg chg="add mod">
          <ac:chgData name="Lara Cruz" userId="b0f71b28-16e3-44a7-b9d4-cbd6d38f3b0b" providerId="ADAL" clId="{C29845DB-5328-4AFF-A359-B1681B2A9272}" dt="2023-06-16T16:01:54.437" v="107" actId="403"/>
          <ac:spMkLst>
            <pc:docMk/>
            <pc:sldMk cId="3951829472" sldId="2147374860"/>
            <ac:spMk id="3" creationId="{95B46A34-DFE0-1C83-E841-D2107F00EF25}"/>
          </ac:spMkLst>
        </pc:spChg>
        <pc:spChg chg="del">
          <ac:chgData name="Lara Cruz" userId="b0f71b28-16e3-44a7-b9d4-cbd6d38f3b0b" providerId="ADAL" clId="{C29845DB-5328-4AFF-A359-B1681B2A9272}" dt="2023-06-16T15:53:38.999" v="44" actId="478"/>
          <ac:spMkLst>
            <pc:docMk/>
            <pc:sldMk cId="3951829472" sldId="2147374860"/>
            <ac:spMk id="4" creationId="{04240ED5-B343-23A9-9302-D6A01B44F500}"/>
          </ac:spMkLst>
        </pc:spChg>
        <pc:picChg chg="del">
          <ac:chgData name="Lara Cruz" userId="b0f71b28-16e3-44a7-b9d4-cbd6d38f3b0b" providerId="ADAL" clId="{C29845DB-5328-4AFF-A359-B1681B2A9272}" dt="2023-06-16T15:53:20.733" v="42" actId="478"/>
          <ac:picMkLst>
            <pc:docMk/>
            <pc:sldMk cId="3951829472" sldId="2147374860"/>
            <ac:picMk id="2" creationId="{01D45A11-6935-9FDC-A2DE-A9D29A2A015E}"/>
          </ac:picMkLst>
        </pc:picChg>
      </pc:sldChg>
      <pc:sldChg chg="modSp add mod">
        <pc:chgData name="Lara Cruz" userId="b0f71b28-16e3-44a7-b9d4-cbd6d38f3b0b" providerId="ADAL" clId="{C29845DB-5328-4AFF-A359-B1681B2A9272}" dt="2023-06-16T13:24:07.927" v="41" actId="20577"/>
        <pc:sldMkLst>
          <pc:docMk/>
          <pc:sldMk cId="4248978637" sldId="2147374863"/>
        </pc:sldMkLst>
        <pc:spChg chg="mod">
          <ac:chgData name="Lara Cruz" userId="b0f71b28-16e3-44a7-b9d4-cbd6d38f3b0b" providerId="ADAL" clId="{C29845DB-5328-4AFF-A359-B1681B2A9272}" dt="2023-06-16T13:24:07.927" v="41" actId="20577"/>
          <ac:spMkLst>
            <pc:docMk/>
            <pc:sldMk cId="4248978637" sldId="2147374863"/>
            <ac:spMk id="25" creationId="{DD37C7B6-AE61-47FE-9F3C-2EB017FB748E}"/>
          </ac:spMkLst>
        </pc:spChg>
      </pc:sldChg>
      <pc:sldChg chg="modSp add mod setBg">
        <pc:chgData name="Lara Cruz" userId="b0f71b28-16e3-44a7-b9d4-cbd6d38f3b0b" providerId="ADAL" clId="{C29845DB-5328-4AFF-A359-B1681B2A9272}" dt="2023-06-16T16:13:46.485" v="200" actId="12788"/>
        <pc:sldMkLst>
          <pc:docMk/>
          <pc:sldMk cId="2485712075" sldId="2147374864"/>
        </pc:sldMkLst>
        <pc:spChg chg="mod">
          <ac:chgData name="Lara Cruz" userId="b0f71b28-16e3-44a7-b9d4-cbd6d38f3b0b" providerId="ADAL" clId="{C29845DB-5328-4AFF-A359-B1681B2A9272}" dt="2023-06-16T16:13:46.485" v="200" actId="12788"/>
          <ac:spMkLst>
            <pc:docMk/>
            <pc:sldMk cId="2485712075" sldId="2147374864"/>
            <ac:spMk id="3" creationId="{74D38EA8-9FE9-9047-3397-C82BB1BC2151}"/>
          </ac:spMkLst>
        </pc:spChg>
      </pc:sldChg>
      <pc:sldChg chg="add del setBg">
        <pc:chgData name="Lara Cruz" userId="b0f71b28-16e3-44a7-b9d4-cbd6d38f3b0b" providerId="ADAL" clId="{C29845DB-5328-4AFF-A359-B1681B2A9272}" dt="2023-06-16T16:06:13.174" v="110" actId="47"/>
        <pc:sldMkLst>
          <pc:docMk/>
          <pc:sldMk cId="2372929136" sldId="2147374865"/>
        </pc:sldMkLst>
      </pc:sldChg>
      <pc:sldChg chg="del">
        <pc:chgData name="Lara Cruz" userId="b0f71b28-16e3-44a7-b9d4-cbd6d38f3b0b" providerId="ADAL" clId="{C29845DB-5328-4AFF-A359-B1681B2A9272}" dt="2023-06-19T12:30:54.030" v="209" actId="47"/>
        <pc:sldMkLst>
          <pc:docMk/>
          <pc:sldMk cId="763814619" sldId="2147374867"/>
        </pc:sldMkLst>
      </pc:sldChg>
    </pc:docChg>
  </pc:docChgLst>
  <pc:docChgLst>
    <pc:chgData name="Lara Cruz" userId="S::lara.cruz@bettercotton.org::b0f71b28-16e3-44a7-b9d4-cbd6d38f3b0b" providerId="AD" clId="Web-{2E76CDD4-00BF-4FF9-120A-C8C8054AD4EB}"/>
    <pc:docChg chg="addSld delSld addMainMaster modMainMaster">
      <pc:chgData name="Lara Cruz" userId="S::lara.cruz@bettercotton.org::b0f71b28-16e3-44a7-b9d4-cbd6d38f3b0b" providerId="AD" clId="Web-{2E76CDD4-00BF-4FF9-120A-C8C8054AD4EB}" dt="2023-06-15T09:19:15.686" v="7"/>
      <pc:docMkLst>
        <pc:docMk/>
      </pc:docMkLst>
      <pc:sldChg chg="del">
        <pc:chgData name="Lara Cruz" userId="S::lara.cruz@bettercotton.org::b0f71b28-16e3-44a7-b9d4-cbd6d38f3b0b" providerId="AD" clId="Web-{2E76CDD4-00BF-4FF9-120A-C8C8054AD4EB}" dt="2023-06-15T09:19:15.686" v="7"/>
        <pc:sldMkLst>
          <pc:docMk/>
          <pc:sldMk cId="2034496485" sldId="2147374854"/>
        </pc:sldMkLst>
      </pc:sldChg>
      <pc:sldChg chg="add">
        <pc:chgData name="Lara Cruz" userId="S::lara.cruz@bettercotton.org::b0f71b28-16e3-44a7-b9d4-cbd6d38f3b0b" providerId="AD" clId="Web-{2E76CDD4-00BF-4FF9-120A-C8C8054AD4EB}" dt="2023-06-15T09:18:45.763" v="0"/>
        <pc:sldMkLst>
          <pc:docMk/>
          <pc:sldMk cId="1565550925" sldId="2147374856"/>
        </pc:sldMkLst>
      </pc:sldChg>
      <pc:sldChg chg="add">
        <pc:chgData name="Lara Cruz" userId="S::lara.cruz@bettercotton.org::b0f71b28-16e3-44a7-b9d4-cbd6d38f3b0b" providerId="AD" clId="Web-{2E76CDD4-00BF-4FF9-120A-C8C8054AD4EB}" dt="2023-06-15T09:18:50.857" v="1"/>
        <pc:sldMkLst>
          <pc:docMk/>
          <pc:sldMk cId="900975027" sldId="2147374857"/>
        </pc:sldMkLst>
      </pc:sldChg>
      <pc:sldChg chg="add">
        <pc:chgData name="Lara Cruz" userId="S::lara.cruz@bettercotton.org::b0f71b28-16e3-44a7-b9d4-cbd6d38f3b0b" providerId="AD" clId="Web-{2E76CDD4-00BF-4FF9-120A-C8C8054AD4EB}" dt="2023-06-15T09:18:54.716" v="2"/>
        <pc:sldMkLst>
          <pc:docMk/>
          <pc:sldMk cId="2531381248" sldId="2147374858"/>
        </pc:sldMkLst>
      </pc:sldChg>
      <pc:sldChg chg="add">
        <pc:chgData name="Lara Cruz" userId="S::lara.cruz@bettercotton.org::b0f71b28-16e3-44a7-b9d4-cbd6d38f3b0b" providerId="AD" clId="Web-{2E76CDD4-00BF-4FF9-120A-C8C8054AD4EB}" dt="2023-06-15T09:18:58.466" v="3"/>
        <pc:sldMkLst>
          <pc:docMk/>
          <pc:sldMk cId="837150247" sldId="2147374859"/>
        </pc:sldMkLst>
      </pc:sldChg>
      <pc:sldChg chg="add">
        <pc:chgData name="Lara Cruz" userId="S::lara.cruz@bettercotton.org::b0f71b28-16e3-44a7-b9d4-cbd6d38f3b0b" providerId="AD" clId="Web-{2E76CDD4-00BF-4FF9-120A-C8C8054AD4EB}" dt="2023-06-15T09:19:03.310" v="4"/>
        <pc:sldMkLst>
          <pc:docMk/>
          <pc:sldMk cId="3951829472" sldId="2147374860"/>
        </pc:sldMkLst>
      </pc:sldChg>
      <pc:sldChg chg="add">
        <pc:chgData name="Lara Cruz" userId="S::lara.cruz@bettercotton.org::b0f71b28-16e3-44a7-b9d4-cbd6d38f3b0b" providerId="AD" clId="Web-{2E76CDD4-00BF-4FF9-120A-C8C8054AD4EB}" dt="2023-06-15T09:19:05.873" v="5"/>
        <pc:sldMkLst>
          <pc:docMk/>
          <pc:sldMk cId="2516727111" sldId="2147374861"/>
        </pc:sldMkLst>
      </pc:sldChg>
      <pc:sldChg chg="add">
        <pc:chgData name="Lara Cruz" userId="S::lara.cruz@bettercotton.org::b0f71b28-16e3-44a7-b9d4-cbd6d38f3b0b" providerId="AD" clId="Web-{2E76CDD4-00BF-4FF9-120A-C8C8054AD4EB}" dt="2023-06-15T09:19:09.076" v="6"/>
        <pc:sldMkLst>
          <pc:docMk/>
          <pc:sldMk cId="913260783" sldId="2147374862"/>
        </pc:sldMkLst>
      </pc:sldChg>
      <pc:sldMasterChg chg="add addSldLayout">
        <pc:chgData name="Lara Cruz" userId="S::lara.cruz@bettercotton.org::b0f71b28-16e3-44a7-b9d4-cbd6d38f3b0b" providerId="AD" clId="Web-{2E76CDD4-00BF-4FF9-120A-C8C8054AD4EB}" dt="2023-06-15T09:19:09.076" v="6"/>
        <pc:sldMasterMkLst>
          <pc:docMk/>
          <pc:sldMasterMk cId="946163275" sldId="2147483648"/>
        </pc:sldMasterMkLst>
        <pc:sldLayoutChg chg="add">
          <pc:chgData name="Lara Cruz" userId="S::lara.cruz@bettercotton.org::b0f71b28-16e3-44a7-b9d4-cbd6d38f3b0b" providerId="AD" clId="Web-{2E76CDD4-00BF-4FF9-120A-C8C8054AD4EB}" dt="2023-06-15T09:18:45.763" v="0"/>
          <pc:sldLayoutMkLst>
            <pc:docMk/>
            <pc:sldMasterMk cId="946163275" sldId="2147483648"/>
            <pc:sldLayoutMk cId="1334038435" sldId="2147483649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4.716" v="2"/>
          <pc:sldLayoutMkLst>
            <pc:docMk/>
            <pc:sldMasterMk cId="946163275" sldId="2147483648"/>
            <pc:sldLayoutMk cId="1505855276" sldId="2147483654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0.857" v="1"/>
          <pc:sldLayoutMkLst>
            <pc:docMk/>
            <pc:sldMasterMk cId="946163275" sldId="2147483648"/>
            <pc:sldLayoutMk cId="1350103997" sldId="2147483658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8.466" v="3"/>
          <pc:sldLayoutMkLst>
            <pc:docMk/>
            <pc:sldMasterMk cId="946163275" sldId="2147483648"/>
            <pc:sldLayoutMk cId="1987784647" sldId="2147483660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9:09.076" v="6"/>
          <pc:sldLayoutMkLst>
            <pc:docMk/>
            <pc:sldMasterMk cId="946163275" sldId="2147483648"/>
            <pc:sldLayoutMk cId="3189010068" sldId="2147483664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9:05.873" v="5"/>
          <pc:sldLayoutMkLst>
            <pc:docMk/>
            <pc:sldMasterMk cId="946163275" sldId="2147483648"/>
            <pc:sldLayoutMk cId="863468265" sldId="2147483669"/>
          </pc:sldLayoutMkLst>
        </pc:sldLayoutChg>
      </pc:sldMasterChg>
      <pc:sldMasterChg chg="replId modSldLayout">
        <pc:chgData name="Lara Cruz" userId="S::lara.cruz@bettercotton.org::b0f71b28-16e3-44a7-b9d4-cbd6d38f3b0b" providerId="AD" clId="Web-{2E76CDD4-00BF-4FF9-120A-C8C8054AD4EB}" dt="2023-06-15T09:19:09.076" v="6"/>
        <pc:sldMasterMkLst>
          <pc:docMk/>
          <pc:sldMasterMk cId="0" sldId="2147483711"/>
        </pc:sldMasterMkLst>
        <pc:sldLayoutChg chg="replId">
          <pc:chgData name="Lara Cruz" userId="S::lara.cruz@bettercotton.org::b0f71b28-16e3-44a7-b9d4-cbd6d38f3b0b" providerId="AD" clId="Web-{2E76CDD4-00BF-4FF9-120A-C8C8054AD4EB}" dt="2023-06-15T09:19:09.076" v="6"/>
          <pc:sldLayoutMkLst>
            <pc:docMk/>
            <pc:sldMasterMk cId="0" sldId="2147483711"/>
            <pc:sldLayoutMk cId="0" sldId="2147483712"/>
          </pc:sldLayoutMkLst>
        </pc:sldLayoutChg>
      </pc:sldMasterChg>
    </pc:docChg>
  </pc:docChgLst>
  <pc:docChgLst>
    <pc:chgData name="Naomi Ho" userId="S::naomi.ho@bettercotton.org::2faf95aa-450d-4d35-8c7f-d27430629a1c" providerId="AD" clId="Web-{92E26EB2-FA1E-DF75-8230-2DE185BCD705}"/>
    <pc:docChg chg="addSld modSld">
      <pc:chgData name="Naomi Ho" userId="S::naomi.ho@bettercotton.org::2faf95aa-450d-4d35-8c7f-d27430629a1c" providerId="AD" clId="Web-{92E26EB2-FA1E-DF75-8230-2DE185BCD705}" dt="2023-06-06T08:07:25.248" v="25" actId="1076"/>
      <pc:docMkLst>
        <pc:docMk/>
      </pc:docMkLst>
      <pc:sldChg chg="delSp modSp">
        <pc:chgData name="Naomi Ho" userId="S::naomi.ho@bettercotton.org::2faf95aa-450d-4d35-8c7f-d27430629a1c" providerId="AD" clId="Web-{92E26EB2-FA1E-DF75-8230-2DE185BCD705}" dt="2023-06-06T08:05:25.370" v="5"/>
        <pc:sldMkLst>
          <pc:docMk/>
          <pc:sldMk cId="1138175935" sldId="292"/>
        </pc:sldMkLst>
        <pc:spChg chg="del mod">
          <ac:chgData name="Naomi Ho" userId="S::naomi.ho@bettercotton.org::2faf95aa-450d-4d35-8c7f-d27430629a1c" providerId="AD" clId="Web-{92E26EB2-FA1E-DF75-8230-2DE185BCD705}" dt="2023-06-06T08:05:25.370" v="5"/>
          <ac:spMkLst>
            <pc:docMk/>
            <pc:sldMk cId="1138175935" sldId="292"/>
            <ac:spMk id="18" creationId="{8DE207BB-C5D4-4F24-B248-9E88BAE129BE}"/>
          </ac:spMkLst>
        </pc:spChg>
        <pc:spChg chg="del">
          <ac:chgData name="Naomi Ho" userId="S::naomi.ho@bettercotton.org::2faf95aa-450d-4d35-8c7f-d27430629a1c" providerId="AD" clId="Web-{92E26EB2-FA1E-DF75-8230-2DE185BCD705}" dt="2023-06-06T08:05:15.151" v="0"/>
          <ac:spMkLst>
            <pc:docMk/>
            <pc:sldMk cId="1138175935" sldId="292"/>
            <ac:spMk id="20" creationId="{45792D2E-6BEE-4838-AE92-3B32AE5DBD33}"/>
          </ac:spMkLst>
        </pc:spChg>
        <pc:spChg chg="mod">
          <ac:chgData name="Naomi Ho" userId="S::naomi.ho@bettercotton.org::2faf95aa-450d-4d35-8c7f-d27430629a1c" providerId="AD" clId="Web-{92E26EB2-FA1E-DF75-8230-2DE185BCD705}" dt="2023-06-06T08:05:19.651" v="2" actId="1076"/>
          <ac:spMkLst>
            <pc:docMk/>
            <pc:sldMk cId="1138175935" sldId="292"/>
            <ac:spMk id="25" creationId="{DD37C7B6-AE61-47FE-9F3C-2EB017FB748E}"/>
          </ac:spMkLst>
        </pc:spChg>
        <pc:cxnChg chg="del">
          <ac:chgData name="Naomi Ho" userId="S::naomi.ho@bettercotton.org::2faf95aa-450d-4d35-8c7f-d27430629a1c" providerId="AD" clId="Web-{92E26EB2-FA1E-DF75-8230-2DE185BCD705}" dt="2023-06-06T08:05:15.167" v="1"/>
          <ac:cxnSpMkLst>
            <pc:docMk/>
            <pc:sldMk cId="1138175935" sldId="292"/>
            <ac:cxnSpMk id="16" creationId="{B0872B05-3F48-4601-A96E-861580B148FB}"/>
          </ac:cxnSpMkLst>
        </pc:cxnChg>
      </pc:sldChg>
      <pc:sldChg chg="modSp">
        <pc:chgData name="Naomi Ho" userId="S::naomi.ho@bettercotton.org::2faf95aa-450d-4d35-8c7f-d27430629a1c" providerId="AD" clId="Web-{92E26EB2-FA1E-DF75-8230-2DE185BCD705}" dt="2023-06-06T08:07:25.248" v="25" actId="1076"/>
        <pc:sldMkLst>
          <pc:docMk/>
          <pc:sldMk cId="3453555056" sldId="295"/>
        </pc:sldMkLst>
        <pc:spChg chg="mod">
          <ac:chgData name="Naomi Ho" userId="S::naomi.ho@bettercotton.org::2faf95aa-450d-4d35-8c7f-d27430629a1c" providerId="AD" clId="Web-{92E26EB2-FA1E-DF75-8230-2DE185BCD705}" dt="2023-06-06T08:07:25.248" v="25" actId="1076"/>
          <ac:spMkLst>
            <pc:docMk/>
            <pc:sldMk cId="3453555056" sldId="295"/>
            <ac:spMk id="18" creationId="{2FE7C207-7979-7DDB-C5B5-65975D660D5C}"/>
          </ac:spMkLst>
        </pc:spChg>
      </pc:sldChg>
      <pc:sldChg chg="delSp modSp add replId">
        <pc:chgData name="Naomi Ho" userId="S::naomi.ho@bettercotton.org::2faf95aa-450d-4d35-8c7f-d27430629a1c" providerId="AD" clId="Web-{92E26EB2-FA1E-DF75-8230-2DE185BCD705}" dt="2023-06-06T08:06:30.419" v="24" actId="1076"/>
        <pc:sldMkLst>
          <pc:docMk/>
          <pc:sldMk cId="515512297" sldId="296"/>
        </pc:sldMkLst>
        <pc:spChg chg="del">
          <ac:chgData name="Naomi Ho" userId="S::naomi.ho@bettercotton.org::2faf95aa-450d-4d35-8c7f-d27430629a1c" providerId="AD" clId="Web-{92E26EB2-FA1E-DF75-8230-2DE185BCD705}" dt="2023-06-06T08:05:48.761" v="9"/>
          <ac:spMkLst>
            <pc:docMk/>
            <pc:sldMk cId="515512297" sldId="296"/>
            <ac:spMk id="7" creationId="{BE608B91-E1F9-5202-1965-57A151528AC8}"/>
          </ac:spMkLst>
        </pc:spChg>
        <pc:spChg chg="mod">
          <ac:chgData name="Naomi Ho" userId="S::naomi.ho@bettercotton.org::2faf95aa-450d-4d35-8c7f-d27430629a1c" providerId="AD" clId="Web-{92E26EB2-FA1E-DF75-8230-2DE185BCD705}" dt="2023-06-06T08:06:30.419" v="24" actId="1076"/>
          <ac:spMkLst>
            <pc:docMk/>
            <pc:sldMk cId="515512297" sldId="296"/>
            <ac:spMk id="17" creationId="{AC1603E2-7225-D631-0A5D-4EF9652B2B0C}"/>
          </ac:spMkLst>
        </pc:spChg>
        <pc:grpChg chg="del">
          <ac:chgData name="Naomi Ho" userId="S::naomi.ho@bettercotton.org::2faf95aa-450d-4d35-8c7f-d27430629a1c" providerId="AD" clId="Web-{92E26EB2-FA1E-DF75-8230-2DE185BCD705}" dt="2023-06-06T08:05:42.011" v="7"/>
          <ac:grpSpMkLst>
            <pc:docMk/>
            <pc:sldMk cId="515512297" sldId="296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92E26EB2-FA1E-DF75-8230-2DE185BCD705}" dt="2023-06-06T08:05:42.027" v="8"/>
          <ac:grpSpMkLst>
            <pc:docMk/>
            <pc:sldMk cId="515512297" sldId="296"/>
            <ac:grpSpMk id="16" creationId="{ED012F06-FF46-2696-EDD2-1B69DC496622}"/>
          </ac:grpSpMkLst>
        </pc:grpChg>
        <pc:cxnChg chg="del">
          <ac:chgData name="Naomi Ho" userId="S::naomi.ho@bettercotton.org::2faf95aa-450d-4d35-8c7f-d27430629a1c" providerId="AD" clId="Web-{92E26EB2-FA1E-DF75-8230-2DE185BCD705}" dt="2023-06-06T08:05:48.777" v="10"/>
          <ac:cxnSpMkLst>
            <pc:docMk/>
            <pc:sldMk cId="515512297" sldId="296"/>
            <ac:cxnSpMk id="23" creationId="{EB2D47C8-B163-4B3B-BC37-222578A82313}"/>
          </ac:cxnSpMkLst>
        </pc:cxnChg>
      </pc:sldChg>
    </pc:docChg>
  </pc:docChgLst>
  <pc:docChgLst>
    <pc:chgData name="Niranjana Rajesh" userId="43dc2825-6106-411f-963a-a383a1d7d429" providerId="ADAL" clId="{A236E636-B115-44A7-8389-A460ECA142FB}"/>
    <pc:docChg chg="undo custSel addSld delSld modSld sldOrd delMainMaster">
      <pc:chgData name="Niranjana Rajesh" userId="43dc2825-6106-411f-963a-a383a1d7d429" providerId="ADAL" clId="{A236E636-B115-44A7-8389-A460ECA142FB}" dt="2023-06-20T16:00:24.610" v="1769" actId="20577"/>
      <pc:docMkLst>
        <pc:docMk/>
      </pc:docMkLst>
      <pc:sldChg chg="addSp modSp mod">
        <pc:chgData name="Niranjana Rajesh" userId="43dc2825-6106-411f-963a-a383a1d7d429" providerId="ADAL" clId="{A236E636-B115-44A7-8389-A460ECA142FB}" dt="2023-06-05T18:19:56.027" v="522" actId="20577"/>
        <pc:sldMkLst>
          <pc:docMk/>
          <pc:sldMk cId="859432995" sldId="283"/>
        </pc:sldMkLst>
        <pc:spChg chg="add mod">
          <ac:chgData name="Niranjana Rajesh" userId="43dc2825-6106-411f-963a-a383a1d7d429" providerId="ADAL" clId="{A236E636-B115-44A7-8389-A460ECA142FB}" dt="2023-06-05T17:30:04.502" v="100" actId="20577"/>
          <ac:spMkLst>
            <pc:docMk/>
            <pc:sldMk cId="859432995" sldId="283"/>
            <ac:spMk id="2" creationId="{026E42E7-79D2-380D-6DA1-2D74885C967E}"/>
          </ac:spMkLst>
        </pc:spChg>
        <pc:spChg chg="mod">
          <ac:chgData name="Niranjana Rajesh" userId="43dc2825-6106-411f-963a-a383a1d7d429" providerId="ADAL" clId="{A236E636-B115-44A7-8389-A460ECA142FB}" dt="2023-06-05T17:28:41.150" v="80" actId="1076"/>
          <ac:spMkLst>
            <pc:docMk/>
            <pc:sldMk cId="859432995" sldId="283"/>
            <ac:spMk id="18" creationId="{8DE207BB-C5D4-4F24-B248-9E88BAE129BE}"/>
          </ac:spMkLst>
        </pc:spChg>
        <pc:spChg chg="mod">
          <ac:chgData name="Niranjana Rajesh" userId="43dc2825-6106-411f-963a-a383a1d7d429" providerId="ADAL" clId="{A236E636-B115-44A7-8389-A460ECA142FB}" dt="2023-06-05T18:19:56.027" v="522" actId="20577"/>
          <ac:spMkLst>
            <pc:docMk/>
            <pc:sldMk cId="859432995" sldId="283"/>
            <ac:spMk id="20" creationId="{45792D2E-6BEE-4838-AE92-3B32AE5DBD33}"/>
          </ac:spMkLst>
        </pc:spChg>
      </pc:sldChg>
      <pc:sldChg chg="addSp delSp modSp mod">
        <pc:chgData name="Niranjana Rajesh" userId="43dc2825-6106-411f-963a-a383a1d7d429" providerId="ADAL" clId="{A236E636-B115-44A7-8389-A460ECA142FB}" dt="2023-06-09T07:59:39.226" v="1363" actId="255"/>
        <pc:sldMkLst>
          <pc:docMk/>
          <pc:sldMk cId="824739939" sldId="288"/>
        </pc:sldMkLst>
        <pc:spChg chg="mod">
          <ac:chgData name="Niranjana Rajesh" userId="43dc2825-6106-411f-963a-a383a1d7d429" providerId="ADAL" clId="{A236E636-B115-44A7-8389-A460ECA142FB}" dt="2023-06-05T17:14:48.996" v="38" actId="14100"/>
          <ac:spMkLst>
            <pc:docMk/>
            <pc:sldMk cId="824739939" sldId="288"/>
            <ac:spMk id="3" creationId="{71DA2796-63A2-45F2-BA29-24BA5E301F44}"/>
          </ac:spMkLst>
        </pc:spChg>
        <pc:spChg chg="add mod ord">
          <ac:chgData name="Niranjana Rajesh" userId="43dc2825-6106-411f-963a-a383a1d7d429" providerId="ADAL" clId="{A236E636-B115-44A7-8389-A460ECA142FB}" dt="2023-06-05T18:41:02.869" v="781" actId="1076"/>
          <ac:spMkLst>
            <pc:docMk/>
            <pc:sldMk cId="824739939" sldId="288"/>
            <ac:spMk id="7" creationId="{BE608B91-E1F9-5202-1965-57A151528AC8}"/>
          </ac:spMkLst>
        </pc:spChg>
        <pc:spChg chg="mod">
          <ac:chgData name="Niranjana Rajesh" userId="43dc2825-6106-411f-963a-a383a1d7d429" providerId="ADAL" clId="{A236E636-B115-44A7-8389-A460ECA142FB}" dt="2023-06-09T07:59:32.280" v="1362" actId="255"/>
          <ac:spMkLst>
            <pc:docMk/>
            <pc:sldMk cId="824739939" sldId="288"/>
            <ac:spMk id="8" creationId="{2E3DE34E-FD04-AF7B-A842-C650E29F40A6}"/>
          </ac:spMkLst>
        </pc:spChg>
        <pc:spChg chg="mod">
          <ac:chgData name="Niranjana Rajesh" userId="43dc2825-6106-411f-963a-a383a1d7d429" providerId="ADAL" clId="{A236E636-B115-44A7-8389-A460ECA142FB}" dt="2023-06-05T18:18:55.246" v="506" actId="1076"/>
          <ac:spMkLst>
            <pc:docMk/>
            <pc:sldMk cId="824739939" sldId="288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09T07:59:39.226" v="1363" actId="255"/>
          <ac:spMkLst>
            <pc:docMk/>
            <pc:sldMk cId="824739939" sldId="288"/>
            <ac:spMk id="14" creationId="{216470CD-F661-AEF3-C1C9-97D75D763106}"/>
          </ac:spMkLst>
        </pc:spChg>
        <pc:spChg chg="mod">
          <ac:chgData name="Niranjana Rajesh" userId="43dc2825-6106-411f-963a-a383a1d7d429" providerId="ADAL" clId="{A236E636-B115-44A7-8389-A460ECA142FB}" dt="2023-06-05T17:14:33.816" v="34" actId="1076"/>
          <ac:spMkLst>
            <pc:docMk/>
            <pc:sldMk cId="824739939" sldId="288"/>
            <ac:spMk id="17" creationId="{AC1603E2-7225-D631-0A5D-4EF9652B2B0C}"/>
          </ac:spMkLst>
        </pc:spChg>
        <pc:spChg chg="del mod">
          <ac:chgData name="Niranjana Rajesh" userId="43dc2825-6106-411f-963a-a383a1d7d429" providerId="ADAL" clId="{A236E636-B115-44A7-8389-A460ECA142FB}" dt="2023-06-05T17:20:29.951" v="74" actId="478"/>
          <ac:spMkLst>
            <pc:docMk/>
            <pc:sldMk cId="824739939" sldId="288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20:24.699" v="538" actId="20577"/>
          <ac:spMkLst>
            <pc:docMk/>
            <pc:sldMk cId="824739939" sldId="288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7:32:03.585" v="106" actId="255"/>
          <ac:spMkLst>
            <pc:docMk/>
            <pc:sldMk cId="824739939" sldId="288"/>
            <ac:spMk id="34" creationId="{724CFC56-AE5C-448B-9F72-F57F297529F4}"/>
          </ac:spMkLst>
        </pc:spChg>
        <pc:grpChg chg="mod">
          <ac:chgData name="Niranjana Rajesh" userId="43dc2825-6106-411f-963a-a383a1d7d429" providerId="ADAL" clId="{A236E636-B115-44A7-8389-A460ECA142FB}" dt="2023-06-05T17:14:58.070" v="39" actId="14100"/>
          <ac:grpSpMkLst>
            <pc:docMk/>
            <pc:sldMk cId="824739939" sldId="288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5T18:41:07.208" v="782" actId="1076"/>
          <ac:grpSpMkLst>
            <pc:docMk/>
            <pc:sldMk cId="824739939" sldId="288"/>
            <ac:grpSpMk id="16" creationId="{ED012F06-FF46-2696-EDD2-1B69DC496622}"/>
          </ac:grpSpMkLst>
        </pc:grpChg>
        <pc:grpChg chg="del">
          <ac:chgData name="Niranjana Rajesh" userId="43dc2825-6106-411f-963a-a383a1d7d429" providerId="ADAL" clId="{A236E636-B115-44A7-8389-A460ECA142FB}" dt="2023-06-05T17:13:52.265" v="22" actId="478"/>
          <ac:grpSpMkLst>
            <pc:docMk/>
            <pc:sldMk cId="824739939" sldId="288"/>
            <ac:grpSpMk id="36" creationId="{D510A60A-AFFE-0B65-DF06-0228F0EC747F}"/>
          </ac:grpSpMkLst>
        </pc:grpChg>
        <pc:picChg chg="mod">
          <ac:chgData name="Niranjana Rajesh" userId="43dc2825-6106-411f-963a-a383a1d7d429" providerId="ADAL" clId="{A236E636-B115-44A7-8389-A460ECA142FB}" dt="2023-06-05T17:31:34.862" v="103" actId="14100"/>
          <ac:picMkLst>
            <pc:docMk/>
            <pc:sldMk cId="824739939" sldId="288"/>
            <ac:picMk id="11" creationId="{8E89BE0E-C03B-3D48-0210-08452D43FC17}"/>
          </ac:picMkLst>
        </pc:picChg>
        <pc:picChg chg="del mod">
          <ac:chgData name="Niranjana Rajesh" userId="43dc2825-6106-411f-963a-a383a1d7d429" providerId="ADAL" clId="{A236E636-B115-44A7-8389-A460ECA142FB}" dt="2023-06-05T17:18:50.514" v="52" actId="21"/>
          <ac:picMkLst>
            <pc:docMk/>
            <pc:sldMk cId="824739939" sldId="288"/>
            <ac:picMk id="15" creationId="{1823DEA9-DC2E-2912-368A-2770542CBF6F}"/>
          </ac:picMkLst>
        </pc:picChg>
        <pc:cxnChg chg="del">
          <ac:chgData name="Niranjana Rajesh" userId="43dc2825-6106-411f-963a-a383a1d7d429" providerId="ADAL" clId="{A236E636-B115-44A7-8389-A460ECA142FB}" dt="2023-06-05T17:13:59.427" v="24" actId="478"/>
          <ac:cxnSpMkLst>
            <pc:docMk/>
            <pc:sldMk cId="824739939" sldId="288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13:56.722" v="23" actId="478"/>
          <ac:cxnSpMkLst>
            <pc:docMk/>
            <pc:sldMk cId="824739939" sldId="288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14:11.895" v="27" actId="14100"/>
          <ac:cxnSpMkLst>
            <pc:docMk/>
            <pc:sldMk cId="824739939" sldId="288"/>
            <ac:cxnSpMk id="23" creationId="{EB2D47C8-B163-4B3B-BC37-222578A82313}"/>
          </ac:cxnSpMkLst>
        </pc:cxnChg>
        <pc:cxnChg chg="del">
          <ac:chgData name="Niranjana Rajesh" userId="43dc2825-6106-411f-963a-a383a1d7d429" providerId="ADAL" clId="{A236E636-B115-44A7-8389-A460ECA142FB}" dt="2023-06-05T17:15:04.072" v="40" actId="478"/>
          <ac:cxnSpMkLst>
            <pc:docMk/>
            <pc:sldMk cId="824739939" sldId="288"/>
            <ac:cxnSpMk id="41" creationId="{F7EA56B0-54AB-54A6-296D-39845DF62FBF}"/>
          </ac:cxnSpMkLst>
        </pc:cxnChg>
      </pc:sldChg>
      <pc:sldChg chg="addSp delSp modSp mod">
        <pc:chgData name="Niranjana Rajesh" userId="43dc2825-6106-411f-963a-a383a1d7d429" providerId="ADAL" clId="{A236E636-B115-44A7-8389-A460ECA142FB}" dt="2023-06-19T12:52:49.338" v="1452" actId="14826"/>
        <pc:sldMkLst>
          <pc:docMk/>
          <pc:sldMk cId="2385738458" sldId="289"/>
        </pc:sldMkLst>
        <pc:spChg chg="mod">
          <ac:chgData name="Niranjana Rajesh" userId="43dc2825-6106-411f-963a-a383a1d7d429" providerId="ADAL" clId="{A236E636-B115-44A7-8389-A460ECA142FB}" dt="2023-06-05T18:15:42.318" v="430" actId="1076"/>
          <ac:spMkLst>
            <pc:docMk/>
            <pc:sldMk cId="2385738458" sldId="289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19T12:52:49.338" v="1452" actId="14826"/>
          <ac:spMkLst>
            <pc:docMk/>
            <pc:sldMk cId="2385738458" sldId="289"/>
            <ac:spMk id="6" creationId="{1F7E9F6C-9EBE-72DF-9DE1-A1A9A9038BB3}"/>
          </ac:spMkLst>
        </pc:spChg>
        <pc:spChg chg="mod">
          <ac:chgData name="Niranjana Rajesh" userId="43dc2825-6106-411f-963a-a383a1d7d429" providerId="ADAL" clId="{A236E636-B115-44A7-8389-A460ECA142FB}" dt="2023-06-19T12:52:49.338" v="1452" actId="14826"/>
          <ac:spMkLst>
            <pc:docMk/>
            <pc:sldMk cId="2385738458" sldId="289"/>
            <ac:spMk id="7" creationId="{F4D43090-EF5E-6760-16E5-2D1A1EB4B14B}"/>
          </ac:spMkLst>
        </pc:spChg>
        <pc:spChg chg="mod">
          <ac:chgData name="Niranjana Rajesh" userId="43dc2825-6106-411f-963a-a383a1d7d429" providerId="ADAL" clId="{A236E636-B115-44A7-8389-A460ECA142FB}" dt="2023-06-09T08:00:13.763" v="1373" actId="255"/>
          <ac:spMkLst>
            <pc:docMk/>
            <pc:sldMk cId="2385738458" sldId="289"/>
            <ac:spMk id="14" creationId="{27C6D366-ED4D-AF91-E26B-37FF441F8BB2}"/>
          </ac:spMkLst>
        </pc:spChg>
        <pc:spChg chg="mod">
          <ac:chgData name="Niranjana Rajesh" userId="43dc2825-6106-411f-963a-a383a1d7d429" providerId="ADAL" clId="{A236E636-B115-44A7-8389-A460ECA142FB}" dt="2023-06-05T17:32:51.679" v="114" actId="1076"/>
          <ac:spMkLst>
            <pc:docMk/>
            <pc:sldMk cId="2385738458" sldId="289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6T10:08:36" v="1312" actId="1076"/>
          <ac:spMkLst>
            <pc:docMk/>
            <pc:sldMk cId="2385738458" sldId="289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35:59.024" v="751" actId="20577"/>
          <ac:spMkLst>
            <pc:docMk/>
            <pc:sldMk cId="2385738458" sldId="289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35:43.319" v="745" actId="20577"/>
          <ac:spMkLst>
            <pc:docMk/>
            <pc:sldMk cId="2385738458" sldId="289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8:15:45.645" v="431" actId="1076"/>
          <ac:spMkLst>
            <pc:docMk/>
            <pc:sldMk cId="2385738458" sldId="289"/>
            <ac:spMk id="34" creationId="{724CFC56-AE5C-448B-9F72-F57F297529F4}"/>
          </ac:spMkLst>
        </pc:spChg>
        <pc:grpChg chg="mod">
          <ac:chgData name="Niranjana Rajesh" userId="43dc2825-6106-411f-963a-a383a1d7d429" providerId="ADAL" clId="{A236E636-B115-44A7-8389-A460ECA142FB}" dt="2023-06-19T12:52:49.338" v="1452" actId="14826"/>
          <ac:grpSpMkLst>
            <pc:docMk/>
            <pc:sldMk cId="2385738458" sldId="289"/>
            <ac:grpSpMk id="2" creationId="{DAF01CB8-A003-F5C8-08B8-65AAF74B58BE}"/>
          </ac:grpSpMkLst>
        </pc:grpChg>
        <pc:grpChg chg="mod">
          <ac:chgData name="Niranjana Rajesh" userId="43dc2825-6106-411f-963a-a383a1d7d429" providerId="ADAL" clId="{A236E636-B115-44A7-8389-A460ECA142FB}" dt="2023-06-05T17:33:08.509" v="120" actId="1076"/>
          <ac:grpSpMkLst>
            <pc:docMk/>
            <pc:sldMk cId="2385738458" sldId="289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6T10:09:32.244" v="1320" actId="14100"/>
          <ac:grpSpMkLst>
            <pc:docMk/>
            <pc:sldMk cId="2385738458" sldId="289"/>
            <ac:grpSpMk id="9" creationId="{A48F1871-6EA4-1F80-1252-ED0C7B276273}"/>
          </ac:grpSpMkLst>
        </pc:grpChg>
        <pc:grpChg chg="mod">
          <ac:chgData name="Niranjana Rajesh" userId="43dc2825-6106-411f-963a-a383a1d7d429" providerId="ADAL" clId="{A236E636-B115-44A7-8389-A460ECA142FB}" dt="2023-06-05T18:16:07.724" v="434" actId="1076"/>
          <ac:grpSpMkLst>
            <pc:docMk/>
            <pc:sldMk cId="2385738458" sldId="289"/>
            <ac:grpSpMk id="16" creationId="{ED012F06-FF46-2696-EDD2-1B69DC496622}"/>
          </ac:grpSpMkLst>
        </pc:grpChg>
        <pc:picChg chg="mod">
          <ac:chgData name="Niranjana Rajesh" userId="43dc2825-6106-411f-963a-a383a1d7d429" providerId="ADAL" clId="{A236E636-B115-44A7-8389-A460ECA142FB}" dt="2023-06-19T12:52:49.338" v="1452" actId="14826"/>
          <ac:picMkLst>
            <pc:docMk/>
            <pc:sldMk cId="2385738458" sldId="289"/>
            <ac:picMk id="8" creationId="{523D0ABE-A57F-E9A8-A3DB-28B0837FE619}"/>
          </ac:picMkLst>
        </pc:picChg>
        <pc:picChg chg="mod">
          <ac:chgData name="Niranjana Rajesh" userId="43dc2825-6106-411f-963a-a383a1d7d429" providerId="ADAL" clId="{A236E636-B115-44A7-8389-A460ECA142FB}" dt="2023-06-06T10:09:40.083" v="1321" actId="14100"/>
          <ac:picMkLst>
            <pc:docMk/>
            <pc:sldMk cId="2385738458" sldId="289"/>
            <ac:picMk id="10" creationId="{5653CF79-B129-0E22-45FA-F4CC8B2C6137}"/>
          </ac:picMkLst>
        </pc:picChg>
        <pc:picChg chg="add del mod">
          <ac:chgData name="Niranjana Rajesh" userId="43dc2825-6106-411f-963a-a383a1d7d429" providerId="ADAL" clId="{A236E636-B115-44A7-8389-A460ECA142FB}" dt="2023-06-06T10:07:27.862" v="1294" actId="478"/>
          <ac:picMkLst>
            <pc:docMk/>
            <pc:sldMk cId="2385738458" sldId="289"/>
            <ac:picMk id="21" creationId="{2CA6E5B4-7833-4D21-9F5C-782BCC71B59B}"/>
          </ac:picMkLst>
        </pc:picChg>
        <pc:picChg chg="add mod">
          <ac:chgData name="Niranjana Rajesh" userId="43dc2825-6106-411f-963a-a383a1d7d429" providerId="ADAL" clId="{A236E636-B115-44A7-8389-A460ECA142FB}" dt="2023-06-06T10:09:17.219" v="1318" actId="14100"/>
          <ac:picMkLst>
            <pc:docMk/>
            <pc:sldMk cId="2385738458" sldId="289"/>
            <ac:picMk id="22" creationId="{12E3D079-A3AE-8B95-98B8-21F98E300BF1}"/>
          </ac:picMkLst>
        </pc:picChg>
        <pc:picChg chg="mod">
          <ac:chgData name="Niranjana Rajesh" userId="43dc2825-6106-411f-963a-a383a1d7d429" providerId="ADAL" clId="{A236E636-B115-44A7-8389-A460ECA142FB}" dt="2023-06-05T18:15:50.252" v="432" actId="14100"/>
          <ac:picMkLst>
            <pc:docMk/>
            <pc:sldMk cId="2385738458" sldId="289"/>
            <ac:picMk id="39" creationId="{9394F1C0-2AA8-429C-A5AB-6D6E9A636301}"/>
          </ac:picMkLst>
        </pc:picChg>
        <pc:picChg chg="add del mod">
          <ac:chgData name="Niranjana Rajesh" userId="43dc2825-6106-411f-963a-a383a1d7d429" providerId="ADAL" clId="{A236E636-B115-44A7-8389-A460ECA142FB}" dt="2023-06-06T10:07:27.862" v="1294" actId="478"/>
          <ac:picMkLst>
            <pc:docMk/>
            <pc:sldMk cId="2385738458" sldId="289"/>
            <ac:picMk id="1026" creationId="{8D7B5C22-D7E8-4708-5A0C-3906133E6776}"/>
          </ac:picMkLst>
        </pc:picChg>
        <pc:picChg chg="add del mod">
          <ac:chgData name="Niranjana Rajesh" userId="43dc2825-6106-411f-963a-a383a1d7d429" providerId="ADAL" clId="{A236E636-B115-44A7-8389-A460ECA142FB}" dt="2023-06-06T10:07:48.951" v="1298" actId="21"/>
          <ac:picMkLst>
            <pc:docMk/>
            <pc:sldMk cId="2385738458" sldId="289"/>
            <ac:picMk id="1028" creationId="{71972ED0-CF3F-9EDC-BB4A-97D2029B9A62}"/>
          </ac:picMkLst>
        </pc:picChg>
        <pc:cxnChg chg="del">
          <ac:chgData name="Niranjana Rajesh" userId="43dc2825-6106-411f-963a-a383a1d7d429" providerId="ADAL" clId="{A236E636-B115-44A7-8389-A460ECA142FB}" dt="2023-06-05T17:32:20.742" v="107" actId="478"/>
          <ac:cxnSpMkLst>
            <pc:docMk/>
            <pc:sldMk cId="2385738458" sldId="289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32:22.447" v="108" actId="478"/>
          <ac:cxnSpMkLst>
            <pc:docMk/>
            <pc:sldMk cId="2385738458" sldId="289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32:44.515" v="112" actId="14100"/>
          <ac:cxnSpMkLst>
            <pc:docMk/>
            <pc:sldMk cId="2385738458" sldId="289"/>
            <ac:cxnSpMk id="23" creationId="{EB2D47C8-B163-4B3B-BC37-222578A82313}"/>
          </ac:cxnSpMkLst>
        </pc:cxnChg>
        <pc:cxnChg chg="del">
          <ac:chgData name="Niranjana Rajesh" userId="43dc2825-6106-411f-963a-a383a1d7d429" providerId="ADAL" clId="{A236E636-B115-44A7-8389-A460ECA142FB}" dt="2023-06-05T17:33:12.986" v="121" actId="478"/>
          <ac:cxnSpMkLst>
            <pc:docMk/>
            <pc:sldMk cId="2385738458" sldId="289"/>
            <ac:cxnSpMk id="41" creationId="{F7EA56B0-54AB-54A6-296D-39845DF62FBF}"/>
          </ac:cxnSpMkLst>
        </pc:cxnChg>
      </pc:sldChg>
      <pc:sldChg chg="modSp mod">
        <pc:chgData name="Niranjana Rajesh" userId="43dc2825-6106-411f-963a-a383a1d7d429" providerId="ADAL" clId="{A236E636-B115-44A7-8389-A460ECA142FB}" dt="2023-06-05T18:48:04.199" v="1068" actId="20577"/>
        <pc:sldMkLst>
          <pc:docMk/>
          <pc:sldMk cId="2869463670" sldId="290"/>
        </pc:sldMkLst>
        <pc:spChg chg="mod">
          <ac:chgData name="Niranjana Rajesh" userId="43dc2825-6106-411f-963a-a383a1d7d429" providerId="ADAL" clId="{A236E636-B115-44A7-8389-A460ECA142FB}" dt="2023-06-05T17:36:52.107" v="136" actId="1076"/>
          <ac:spMkLst>
            <pc:docMk/>
            <pc:sldMk cId="2869463670" sldId="290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05T18:48:04.199" v="1068" actId="20577"/>
          <ac:spMkLst>
            <pc:docMk/>
            <pc:sldMk cId="2869463670" sldId="290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5T18:15:26.494" v="429" actId="20577"/>
          <ac:spMkLst>
            <pc:docMk/>
            <pc:sldMk cId="2869463670" sldId="290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40:06.956" v="765" actId="20577"/>
          <ac:spMkLst>
            <pc:docMk/>
            <pc:sldMk cId="2869463670" sldId="290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7:36:35.003" v="131" actId="2711"/>
          <ac:spMkLst>
            <pc:docMk/>
            <pc:sldMk cId="2869463670" sldId="290"/>
            <ac:spMk id="34" creationId="{724CFC56-AE5C-448B-9F72-F57F297529F4}"/>
          </ac:spMkLst>
        </pc:spChg>
        <pc:picChg chg="mod">
          <ac:chgData name="Niranjana Rajesh" userId="43dc2825-6106-411f-963a-a383a1d7d429" providerId="ADAL" clId="{A236E636-B115-44A7-8389-A460ECA142FB}" dt="2023-06-05T17:36:39.990" v="132" actId="1076"/>
          <ac:picMkLst>
            <pc:docMk/>
            <pc:sldMk cId="2869463670" sldId="290"/>
            <ac:picMk id="39" creationId="{9394F1C0-2AA8-429C-A5AB-6D6E9A636301}"/>
          </ac:picMkLst>
        </pc:picChg>
      </pc:sldChg>
      <pc:sldChg chg="addSp delSp modSp mod">
        <pc:chgData name="Niranjana Rajesh" userId="43dc2825-6106-411f-963a-a383a1d7d429" providerId="ADAL" clId="{A236E636-B115-44A7-8389-A460ECA142FB}" dt="2023-06-05T18:40:44.762" v="778" actId="20577"/>
        <pc:sldMkLst>
          <pc:docMk/>
          <pc:sldMk cId="1890534255" sldId="291"/>
        </pc:sldMkLst>
        <pc:spChg chg="mod">
          <ac:chgData name="Niranjana Rajesh" userId="43dc2825-6106-411f-963a-a383a1d7d429" providerId="ADAL" clId="{A236E636-B115-44A7-8389-A460ECA142FB}" dt="2023-06-05T18:14:16.702" v="412" actId="14100"/>
          <ac:spMkLst>
            <pc:docMk/>
            <pc:sldMk cId="1890534255" sldId="291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05T18:13:54.045" v="409" actId="2711"/>
          <ac:spMkLst>
            <pc:docMk/>
            <pc:sldMk cId="1890534255" sldId="291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05T17:51:16.352" v="196" actId="1076"/>
          <ac:spMkLst>
            <pc:docMk/>
            <pc:sldMk cId="1890534255" sldId="291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5T18:09:38.707" v="359" actId="1076"/>
          <ac:spMkLst>
            <pc:docMk/>
            <pc:sldMk cId="1890534255" sldId="291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5-23T09:29:33.770" v="21" actId="20577"/>
          <ac:spMkLst>
            <pc:docMk/>
            <pc:sldMk cId="1890534255" sldId="291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14:57.046" v="421" actId="1076"/>
          <ac:spMkLst>
            <pc:docMk/>
            <pc:sldMk cId="1890534255" sldId="291"/>
            <ac:spMk id="21" creationId="{498A9358-E0FA-4A7F-A25F-F2AD1EBF700B}"/>
          </ac:spMkLst>
        </pc:spChg>
        <pc:spChg chg="mod">
          <ac:chgData name="Niranjana Rajesh" userId="43dc2825-6106-411f-963a-a383a1d7d429" providerId="ADAL" clId="{A236E636-B115-44A7-8389-A460ECA142FB}" dt="2023-06-05T18:14:40.713" v="417" actId="1076"/>
          <ac:spMkLst>
            <pc:docMk/>
            <pc:sldMk cId="1890534255" sldId="291"/>
            <ac:spMk id="22" creationId="{F7FCD70C-0A57-4A97-BF16-F040EB6740E7}"/>
          </ac:spMkLst>
        </pc:spChg>
        <pc:spChg chg="mod">
          <ac:chgData name="Niranjana Rajesh" userId="43dc2825-6106-411f-963a-a383a1d7d429" providerId="ADAL" clId="{A236E636-B115-44A7-8389-A460ECA142FB}" dt="2023-06-05T18:40:44.762" v="778" actId="20577"/>
          <ac:spMkLst>
            <pc:docMk/>
            <pc:sldMk cId="1890534255" sldId="291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8:15:00.891" v="422" actId="1076"/>
          <ac:spMkLst>
            <pc:docMk/>
            <pc:sldMk cId="1890534255" sldId="291"/>
            <ac:spMk id="34" creationId="{724CFC56-AE5C-448B-9F72-F57F297529F4}"/>
          </ac:spMkLst>
        </pc:spChg>
        <pc:spChg chg="mod">
          <ac:chgData name="Niranjana Rajesh" userId="43dc2825-6106-411f-963a-a383a1d7d429" providerId="ADAL" clId="{A236E636-B115-44A7-8389-A460ECA142FB}" dt="2023-06-05T18:14:13.114" v="411" actId="14100"/>
          <ac:spMkLst>
            <pc:docMk/>
            <pc:sldMk cId="1890534255" sldId="291"/>
            <ac:spMk id="55" creationId="{BA552082-3F63-48DB-AC1C-68DC45C4EE39}"/>
          </ac:spMkLst>
        </pc:spChg>
        <pc:spChg chg="mod">
          <ac:chgData name="Niranjana Rajesh" userId="43dc2825-6106-411f-963a-a383a1d7d429" providerId="ADAL" clId="{A236E636-B115-44A7-8389-A460ECA142FB}" dt="2023-06-05T18:14:08.648" v="410" actId="14100"/>
          <ac:spMkLst>
            <pc:docMk/>
            <pc:sldMk cId="1890534255" sldId="291"/>
            <ac:spMk id="57" creationId="{BDE31366-1203-4C21-AE09-DE93127D462B}"/>
          </ac:spMkLst>
        </pc:spChg>
        <pc:grpChg chg="mod">
          <ac:chgData name="Niranjana Rajesh" userId="43dc2825-6106-411f-963a-a383a1d7d429" providerId="ADAL" clId="{A236E636-B115-44A7-8389-A460ECA142FB}" dt="2023-06-05T17:51:38.136" v="199" actId="14100"/>
          <ac:grpSpMkLst>
            <pc:docMk/>
            <pc:sldMk cId="1890534255" sldId="291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5T17:50:12.481" v="178" actId="1076"/>
          <ac:grpSpMkLst>
            <pc:docMk/>
            <pc:sldMk cId="1890534255" sldId="291"/>
            <ac:grpSpMk id="6" creationId="{0BBE8223-1DAF-3986-E1D2-CCDF9858901B}"/>
          </ac:grpSpMkLst>
        </pc:grpChg>
        <pc:grpChg chg="mod">
          <ac:chgData name="Niranjana Rajesh" userId="43dc2825-6106-411f-963a-a383a1d7d429" providerId="ADAL" clId="{A236E636-B115-44A7-8389-A460ECA142FB}" dt="2023-06-05T17:44:29.769" v="167" actId="1076"/>
          <ac:grpSpMkLst>
            <pc:docMk/>
            <pc:sldMk cId="1890534255" sldId="291"/>
            <ac:grpSpMk id="7" creationId="{CD4E98D6-0E11-D7A7-2381-DDB67E9256B0}"/>
          </ac:grpSpMkLst>
        </pc:grpChg>
        <pc:grpChg chg="mod">
          <ac:chgData name="Niranjana Rajesh" userId="43dc2825-6106-411f-963a-a383a1d7d429" providerId="ADAL" clId="{A236E636-B115-44A7-8389-A460ECA142FB}" dt="2023-06-05T18:11:51.815" v="360" actId="14826"/>
          <ac:grpSpMkLst>
            <pc:docMk/>
            <pc:sldMk cId="1890534255" sldId="291"/>
            <ac:grpSpMk id="16" creationId="{ED012F06-FF46-2696-EDD2-1B69DC496622}"/>
          </ac:grpSpMkLst>
        </pc:grpChg>
        <pc:grpChg chg="del">
          <ac:chgData name="Niranjana Rajesh" userId="43dc2825-6106-411f-963a-a383a1d7d429" providerId="ADAL" clId="{A236E636-B115-44A7-8389-A460ECA142FB}" dt="2023-06-05T17:42:57.800" v="150" actId="478"/>
          <ac:grpSpMkLst>
            <pc:docMk/>
            <pc:sldMk cId="1890534255" sldId="291"/>
            <ac:grpSpMk id="36" creationId="{D510A60A-AFFE-0B65-DF06-0228F0EC747F}"/>
          </ac:grpSpMkLst>
        </pc:grpChg>
        <pc:picChg chg="add mod">
          <ac:chgData name="Niranjana Rajesh" userId="43dc2825-6106-411f-963a-a383a1d7d429" providerId="ADAL" clId="{A236E636-B115-44A7-8389-A460ECA142FB}" dt="2023-06-05T18:14:23.663" v="414" actId="14100"/>
          <ac:picMkLst>
            <pc:docMk/>
            <pc:sldMk cId="1890534255" sldId="291"/>
            <ac:picMk id="8" creationId="{9A29A290-FBD8-43BA-9C5A-D75E4D0E1609}"/>
          </ac:picMkLst>
        </pc:picChg>
        <pc:picChg chg="add mod">
          <ac:chgData name="Niranjana Rajesh" userId="43dc2825-6106-411f-963a-a383a1d7d429" providerId="ADAL" clId="{A236E636-B115-44A7-8389-A460ECA142FB}" dt="2023-06-05T18:14:27.707" v="415" actId="14100"/>
          <ac:picMkLst>
            <pc:docMk/>
            <pc:sldMk cId="1890534255" sldId="291"/>
            <ac:picMk id="10" creationId="{63D49A8A-D5C3-E48D-F204-882AA6771CBC}"/>
          </ac:picMkLst>
        </pc:picChg>
        <pc:picChg chg="mod">
          <ac:chgData name="Niranjana Rajesh" userId="43dc2825-6106-411f-963a-a383a1d7d429" providerId="ADAL" clId="{A236E636-B115-44A7-8389-A460ECA142FB}" dt="2023-06-05T18:14:33.906" v="416" actId="14100"/>
          <ac:picMkLst>
            <pc:docMk/>
            <pc:sldMk cId="1890534255" sldId="291"/>
            <ac:picMk id="11" creationId="{8E89BE0E-C03B-3D48-0210-08452D43FC17}"/>
          </ac:picMkLst>
        </pc:picChg>
        <pc:picChg chg="mod">
          <ac:chgData name="Niranjana Rajesh" userId="43dc2825-6106-411f-963a-a383a1d7d429" providerId="ADAL" clId="{A236E636-B115-44A7-8389-A460ECA142FB}" dt="2023-06-05T18:12:54.085" v="373" actId="14100"/>
          <ac:picMkLst>
            <pc:docMk/>
            <pc:sldMk cId="1890534255" sldId="291"/>
            <ac:picMk id="15" creationId="{1823DEA9-DC2E-2912-368A-2770542CBF6F}"/>
          </ac:picMkLst>
        </pc:picChg>
        <pc:picChg chg="mod">
          <ac:chgData name="Niranjana Rajesh" userId="43dc2825-6106-411f-963a-a383a1d7d429" providerId="ADAL" clId="{A236E636-B115-44A7-8389-A460ECA142FB}" dt="2023-06-05T18:14:20.048" v="413" actId="14100"/>
          <ac:picMkLst>
            <pc:docMk/>
            <pc:sldMk cId="1890534255" sldId="291"/>
            <ac:picMk id="39" creationId="{9394F1C0-2AA8-429C-A5AB-6D6E9A636301}"/>
          </ac:picMkLst>
        </pc:picChg>
        <pc:picChg chg="del">
          <ac:chgData name="Niranjana Rajesh" userId="43dc2825-6106-411f-963a-a383a1d7d429" providerId="ADAL" clId="{A236E636-B115-44A7-8389-A460ECA142FB}" dt="2023-06-05T17:45:01.898" v="177" actId="478"/>
          <ac:picMkLst>
            <pc:docMk/>
            <pc:sldMk cId="1890534255" sldId="291"/>
            <ac:picMk id="56" creationId="{E35CC919-2CF2-4583-B490-FF7B098A11A5}"/>
          </ac:picMkLst>
        </pc:picChg>
        <pc:picChg chg="del mod">
          <ac:chgData name="Niranjana Rajesh" userId="43dc2825-6106-411f-963a-a383a1d7d429" providerId="ADAL" clId="{A236E636-B115-44A7-8389-A460ECA142FB}" dt="2023-06-05T17:44:11.019" v="160" actId="478"/>
          <ac:picMkLst>
            <pc:docMk/>
            <pc:sldMk cId="1890534255" sldId="291"/>
            <ac:picMk id="58" creationId="{ABF16F4C-A844-47E6-9F03-E939DD37D54C}"/>
          </ac:picMkLst>
        </pc:picChg>
        <pc:cxnChg chg="mod">
          <ac:chgData name="Niranjana Rajesh" userId="43dc2825-6106-411f-963a-a383a1d7d429" providerId="ADAL" clId="{A236E636-B115-44A7-8389-A460ECA142FB}" dt="2023-06-05T17:44:55.632" v="175" actId="14100"/>
          <ac:cxnSpMkLst>
            <pc:docMk/>
            <pc:sldMk cId="1890534255" sldId="291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43:00.056" v="151" actId="478"/>
          <ac:cxnSpMkLst>
            <pc:docMk/>
            <pc:sldMk cId="1890534255" sldId="291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51:44.083" v="200" actId="1076"/>
          <ac:cxnSpMkLst>
            <pc:docMk/>
            <pc:sldMk cId="1890534255" sldId="291"/>
            <ac:cxnSpMk id="23" creationId="{EB2D47C8-B163-4B3B-BC37-222578A82313}"/>
          </ac:cxnSpMkLst>
        </pc:cxnChg>
        <pc:cxnChg chg="mod">
          <ac:chgData name="Niranjana Rajesh" userId="43dc2825-6106-411f-963a-a383a1d7d429" providerId="ADAL" clId="{A236E636-B115-44A7-8389-A460ECA142FB}" dt="2023-06-05T18:14:51.977" v="420" actId="14100"/>
          <ac:cxnSpMkLst>
            <pc:docMk/>
            <pc:sldMk cId="1890534255" sldId="291"/>
            <ac:cxnSpMk id="41" creationId="{F7EA56B0-54AB-54A6-296D-39845DF62FBF}"/>
          </ac:cxnSpMkLst>
        </pc:cxnChg>
      </pc:sldChg>
      <pc:sldChg chg="delSp modSp mod">
        <pc:chgData name="Niranjana Rajesh" userId="43dc2825-6106-411f-963a-a383a1d7d429" providerId="ADAL" clId="{A236E636-B115-44A7-8389-A460ECA142FB}" dt="2023-06-05T18:48:28.459" v="1085" actId="20577"/>
        <pc:sldMkLst>
          <pc:docMk/>
          <pc:sldMk cId="1138175935" sldId="292"/>
        </pc:sldMkLst>
        <pc:spChg chg="mod">
          <ac:chgData name="Niranjana Rajesh" userId="43dc2825-6106-411f-963a-a383a1d7d429" providerId="ADAL" clId="{A236E636-B115-44A7-8389-A460ECA142FB}" dt="2023-06-05T18:18:14.950" v="485" actId="1076"/>
          <ac:spMkLst>
            <pc:docMk/>
            <pc:sldMk cId="1138175935" sldId="292"/>
            <ac:spMk id="18" creationId="{8DE207BB-C5D4-4F24-B248-9E88BAE129BE}"/>
          </ac:spMkLst>
        </pc:spChg>
        <pc:spChg chg="mod">
          <ac:chgData name="Niranjana Rajesh" userId="43dc2825-6106-411f-963a-a383a1d7d429" providerId="ADAL" clId="{A236E636-B115-44A7-8389-A460ECA142FB}" dt="2023-06-05T18:48:28.459" v="1085" actId="20577"/>
          <ac:spMkLst>
            <pc:docMk/>
            <pc:sldMk cId="1138175935" sldId="292"/>
            <ac:spMk id="20" creationId="{45792D2E-6BEE-4838-AE92-3B32AE5DBD33}"/>
          </ac:spMkLst>
        </pc:spChg>
        <pc:spChg chg="mod">
          <ac:chgData name="Niranjana Rajesh" userId="43dc2825-6106-411f-963a-a383a1d7d429" providerId="ADAL" clId="{A236E636-B115-44A7-8389-A460ECA142FB}" dt="2023-06-05T18:16:48.189" v="464" actId="20577"/>
          <ac:spMkLst>
            <pc:docMk/>
            <pc:sldMk cId="1138175935" sldId="292"/>
            <ac:spMk id="25" creationId="{DD37C7B6-AE61-47FE-9F3C-2EB017FB748E}"/>
          </ac:spMkLst>
        </pc:spChg>
        <pc:picChg chg="del">
          <ac:chgData name="Niranjana Rajesh" userId="43dc2825-6106-411f-963a-a383a1d7d429" providerId="ADAL" clId="{A236E636-B115-44A7-8389-A460ECA142FB}" dt="2023-06-05T18:16:29.669" v="435" actId="478"/>
          <ac:picMkLst>
            <pc:docMk/>
            <pc:sldMk cId="1138175935" sldId="292"/>
            <ac:picMk id="15" creationId="{0BBB648C-A6B7-4204-A7F5-4EA26B8A9EDA}"/>
          </ac:picMkLst>
        </pc:picChg>
      </pc:sldChg>
      <pc:sldChg chg="del">
        <pc:chgData name="Niranjana Rajesh" userId="43dc2825-6106-411f-963a-a383a1d7d429" providerId="ADAL" clId="{A236E636-B115-44A7-8389-A460ECA142FB}" dt="2023-06-05T18:33:48.865" v="733" actId="2696"/>
        <pc:sldMkLst>
          <pc:docMk/>
          <pc:sldMk cId="1297534275" sldId="293"/>
        </pc:sldMkLst>
      </pc:sldChg>
      <pc:sldChg chg="modSp del mod ord">
        <pc:chgData name="Niranjana Rajesh" userId="43dc2825-6106-411f-963a-a383a1d7d429" providerId="ADAL" clId="{A236E636-B115-44A7-8389-A460ECA142FB}" dt="2023-06-15T09:34:23.112" v="1392" actId="2696"/>
        <pc:sldMkLst>
          <pc:docMk/>
          <pc:sldMk cId="60931730" sldId="294"/>
        </pc:sldMkLst>
        <pc:spChg chg="mod">
          <ac:chgData name="Niranjana Rajesh" userId="43dc2825-6106-411f-963a-a383a1d7d429" providerId="ADAL" clId="{A236E636-B115-44A7-8389-A460ECA142FB}" dt="2023-06-05T18:47:54.519" v="1067" actId="1076"/>
          <ac:spMkLst>
            <pc:docMk/>
            <pc:sldMk cId="60931730" sldId="294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43:23.475" v="815" actId="20577"/>
          <ac:spMkLst>
            <pc:docMk/>
            <pc:sldMk cId="60931730" sldId="294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44:34.409" v="818"/>
          <ac:spMkLst>
            <pc:docMk/>
            <pc:sldMk cId="60931730" sldId="294"/>
            <ac:spMk id="25" creationId="{DB19D8FE-B649-8745-B5DA-03209BD04D6F}"/>
          </ac:spMkLst>
        </pc:spChg>
      </pc:sldChg>
      <pc:sldChg chg="modSp add del mod">
        <pc:chgData name="Niranjana Rajesh" userId="43dc2825-6106-411f-963a-a383a1d7d429" providerId="ADAL" clId="{A236E636-B115-44A7-8389-A460ECA142FB}" dt="2023-06-05T18:41:41.060" v="783" actId="2696"/>
        <pc:sldMkLst>
          <pc:docMk/>
          <pc:sldMk cId="395839664" sldId="295"/>
        </pc:sldMkLst>
        <pc:spChg chg="mod">
          <ac:chgData name="Niranjana Rajesh" userId="43dc2825-6106-411f-963a-a383a1d7d429" providerId="ADAL" clId="{A236E636-B115-44A7-8389-A460ECA142FB}" dt="2023-06-05T18:33:26.216" v="732" actId="20577"/>
          <ac:spMkLst>
            <pc:docMk/>
            <pc:sldMk cId="395839664" sldId="295"/>
            <ac:spMk id="18" creationId="{2FE7C207-7979-7DDB-C5B5-65975D660D5C}"/>
          </ac:spMkLst>
        </pc:spChg>
      </pc:sldChg>
      <pc:sldChg chg="new del ord">
        <pc:chgData name="Niranjana Rajesh" userId="43dc2825-6106-411f-963a-a383a1d7d429" providerId="ADAL" clId="{A236E636-B115-44A7-8389-A460ECA142FB}" dt="2023-06-05T18:24:35.600" v="651" actId="2696"/>
        <pc:sldMkLst>
          <pc:docMk/>
          <pc:sldMk cId="2145427682" sldId="295"/>
        </pc:sldMkLst>
      </pc:sldChg>
      <pc:sldChg chg="addSp delSp modSp add del mod ord">
        <pc:chgData name="Niranjana Rajesh" userId="43dc2825-6106-411f-963a-a383a1d7d429" providerId="ADAL" clId="{A236E636-B115-44A7-8389-A460ECA142FB}" dt="2023-06-07T13:22:50.188" v="1353" actId="2696"/>
        <pc:sldMkLst>
          <pc:docMk/>
          <pc:sldMk cId="3453555056" sldId="295"/>
        </pc:sldMkLst>
        <pc:spChg chg="add del mod">
          <ac:chgData name="Niranjana Rajesh" userId="43dc2825-6106-411f-963a-a383a1d7d429" providerId="ADAL" clId="{A236E636-B115-44A7-8389-A460ECA142FB}" dt="2023-06-05T19:15:46.880" v="1095"/>
          <ac:spMkLst>
            <pc:docMk/>
            <pc:sldMk cId="3453555056" sldId="295"/>
            <ac:spMk id="2" creationId="{9113C970-49BD-A0D9-5A9F-046BFEA4EBF9}"/>
          </ac:spMkLst>
        </pc:spChg>
        <pc:spChg chg="mod">
          <ac:chgData name="Niranjana Rajesh" userId="43dc2825-6106-411f-963a-a383a1d7d429" providerId="ADAL" clId="{A236E636-B115-44A7-8389-A460ECA142FB}" dt="2023-06-05T19:19:06.739" v="1235" actId="20577"/>
          <ac:spMkLst>
            <pc:docMk/>
            <pc:sldMk cId="3453555056" sldId="295"/>
            <ac:spMk id="18" creationId="{2FE7C207-7979-7DDB-C5B5-65975D660D5C}"/>
          </ac:spMkLst>
        </pc:spChg>
        <pc:spChg chg="del mod">
          <ac:chgData name="Niranjana Rajesh" userId="43dc2825-6106-411f-963a-a383a1d7d429" providerId="ADAL" clId="{A236E636-B115-44A7-8389-A460ECA142FB}" dt="2023-06-05T19:15:22.242" v="1091"/>
          <ac:spMkLst>
            <pc:docMk/>
            <pc:sldMk cId="3453555056" sldId="295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9:18:41.462" v="1187" actId="113"/>
          <ac:spMkLst>
            <pc:docMk/>
            <pc:sldMk cId="3453555056" sldId="295"/>
            <ac:spMk id="25" creationId="{DB19D8FE-B649-8745-B5DA-03209BD04D6F}"/>
          </ac:spMkLst>
        </pc:spChg>
        <pc:cxnChg chg="mod">
          <ac:chgData name="Niranjana Rajesh" userId="43dc2825-6106-411f-963a-a383a1d7d429" providerId="ADAL" clId="{A236E636-B115-44A7-8389-A460ECA142FB}" dt="2023-06-05T19:18:44.339" v="1188" actId="1076"/>
          <ac:cxnSpMkLst>
            <pc:docMk/>
            <pc:sldMk cId="3453555056" sldId="295"/>
            <ac:cxnSpMk id="19" creationId="{B319EF2E-A3E0-7DF1-ABA5-A7D1DBBD2944}"/>
          </ac:cxnSpMkLst>
        </pc:cxnChg>
      </pc:sldChg>
      <pc:sldChg chg="modSp mod">
        <pc:chgData name="Niranjana Rajesh" userId="43dc2825-6106-411f-963a-a383a1d7d429" providerId="ADAL" clId="{A236E636-B115-44A7-8389-A460ECA142FB}" dt="2023-06-06T08:56:02.204" v="1281" actId="20577"/>
        <pc:sldMkLst>
          <pc:docMk/>
          <pc:sldMk cId="515512297" sldId="296"/>
        </pc:sldMkLst>
        <pc:spChg chg="mod">
          <ac:chgData name="Niranjana Rajesh" userId="43dc2825-6106-411f-963a-a383a1d7d429" providerId="ADAL" clId="{A236E636-B115-44A7-8389-A460ECA142FB}" dt="2023-06-06T08:56:02.204" v="1281" actId="20577"/>
          <ac:spMkLst>
            <pc:docMk/>
            <pc:sldMk cId="515512297" sldId="296"/>
            <ac:spMk id="17" creationId="{AC1603E2-7225-D631-0A5D-4EF9652B2B0C}"/>
          </ac:spMkLst>
        </pc:spChg>
      </pc:sldChg>
      <pc:sldChg chg="new del">
        <pc:chgData name="Niranjana Rajesh" userId="43dc2825-6106-411f-963a-a383a1d7d429" providerId="ADAL" clId="{A236E636-B115-44A7-8389-A460ECA142FB}" dt="2023-06-05T18:24:30.374" v="650" actId="2696"/>
        <pc:sldMkLst>
          <pc:docMk/>
          <pc:sldMk cId="3057353127" sldId="296"/>
        </pc:sldMkLst>
      </pc:sldChg>
      <pc:sldChg chg="modSp add del mod ord">
        <pc:chgData name="Niranjana Rajesh" userId="43dc2825-6106-411f-963a-a383a1d7d429" providerId="ADAL" clId="{A236E636-B115-44A7-8389-A460ECA142FB}" dt="2023-06-09T07:56:59.967" v="1355" actId="2696"/>
        <pc:sldMkLst>
          <pc:docMk/>
          <pc:sldMk cId="1699254599" sldId="297"/>
        </pc:sldMkLst>
        <pc:spChg chg="mod">
          <ac:chgData name="Niranjana Rajesh" userId="43dc2825-6106-411f-963a-a383a1d7d429" providerId="ADAL" clId="{A236E636-B115-44A7-8389-A460ECA142FB}" dt="2023-06-06T08:54:24.681" v="1258" actId="20577"/>
          <ac:spMkLst>
            <pc:docMk/>
            <pc:sldMk cId="1699254599" sldId="297"/>
            <ac:spMk id="25" creationId="{DD37C7B6-AE61-47FE-9F3C-2EB017FB748E}"/>
          </ac:spMkLst>
        </pc:spChg>
      </pc:sldChg>
      <pc:sldChg chg="modSp mod">
        <pc:chgData name="Niranjana Rajesh" userId="43dc2825-6106-411f-963a-a383a1d7d429" providerId="ADAL" clId="{A236E636-B115-44A7-8389-A460ECA142FB}" dt="2023-06-19T13:09:00.550" v="1485" actId="113"/>
        <pc:sldMkLst>
          <pc:docMk/>
          <pc:sldMk cId="3955236344" sldId="298"/>
        </pc:sldMkLst>
        <pc:spChg chg="mod">
          <ac:chgData name="Niranjana Rajesh" userId="43dc2825-6106-411f-963a-a383a1d7d429" providerId="ADAL" clId="{A236E636-B115-44A7-8389-A460ECA142FB}" dt="2023-06-19T13:09:00.550" v="1485" actId="113"/>
          <ac:spMkLst>
            <pc:docMk/>
            <pc:sldMk cId="3955236344" sldId="298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19T13:08:57.460" v="1484" actId="113"/>
          <ac:spMkLst>
            <pc:docMk/>
            <pc:sldMk cId="3955236344" sldId="298"/>
            <ac:spMk id="21" creationId="{498A9358-E0FA-4A7F-A25F-F2AD1EBF700B}"/>
          </ac:spMkLst>
        </pc:spChg>
        <pc:spChg chg="mod">
          <ac:chgData name="Niranjana Rajesh" userId="43dc2825-6106-411f-963a-a383a1d7d429" providerId="ADAL" clId="{A236E636-B115-44A7-8389-A460ECA142FB}" dt="2023-06-19T13:08:49.327" v="1481" actId="113"/>
          <ac:spMkLst>
            <pc:docMk/>
            <pc:sldMk cId="3955236344" sldId="298"/>
            <ac:spMk id="32" creationId="{B989C678-0161-DF6C-E71E-AAA408FD48C5}"/>
          </ac:spMkLst>
        </pc:spChg>
        <pc:spChg chg="mod">
          <ac:chgData name="Niranjana Rajesh" userId="43dc2825-6106-411f-963a-a383a1d7d429" providerId="ADAL" clId="{A236E636-B115-44A7-8389-A460ECA142FB}" dt="2023-06-19T13:08:52.711" v="1482" actId="113"/>
          <ac:spMkLst>
            <pc:docMk/>
            <pc:sldMk cId="3955236344" sldId="298"/>
            <ac:spMk id="34" creationId="{724CFC56-AE5C-448B-9F72-F57F297529F4}"/>
          </ac:spMkLst>
        </pc:spChg>
      </pc:sldChg>
      <pc:sldChg chg="modSp mod ord">
        <pc:chgData name="Niranjana Rajesh" userId="43dc2825-6106-411f-963a-a383a1d7d429" providerId="ADAL" clId="{A236E636-B115-44A7-8389-A460ECA142FB}" dt="2023-06-09T07:58:22.698" v="1361" actId="14100"/>
        <pc:sldMkLst>
          <pc:docMk/>
          <pc:sldMk cId="257024696" sldId="299"/>
        </pc:sldMkLst>
        <pc:spChg chg="mod">
          <ac:chgData name="Niranjana Rajesh" userId="43dc2825-6106-411f-963a-a383a1d7d429" providerId="ADAL" clId="{A236E636-B115-44A7-8389-A460ECA142FB}" dt="2023-06-09T07:58:22.698" v="1361" actId="14100"/>
          <ac:spMkLst>
            <pc:docMk/>
            <pc:sldMk cId="257024696" sldId="299"/>
            <ac:spMk id="3" creationId="{74D38EA8-9FE9-9047-3397-C82BB1BC2151}"/>
          </ac:spMkLst>
        </pc:spChg>
      </pc:sldChg>
      <pc:sldChg chg="del">
        <pc:chgData name="Niranjana Rajesh" userId="43dc2825-6106-411f-963a-a383a1d7d429" providerId="ADAL" clId="{A236E636-B115-44A7-8389-A460ECA142FB}" dt="2023-06-18T07:06:28.180" v="1428" actId="2696"/>
        <pc:sldMkLst>
          <pc:docMk/>
          <pc:sldMk cId="4207918131" sldId="372"/>
        </pc:sldMkLst>
      </pc:sldChg>
      <pc:sldChg chg="modSp mod">
        <pc:chgData name="Niranjana Rajesh" userId="43dc2825-6106-411f-963a-a383a1d7d429" providerId="ADAL" clId="{A236E636-B115-44A7-8389-A460ECA142FB}" dt="2023-06-09T07:56:31.674" v="1354" actId="27636"/>
        <pc:sldMkLst>
          <pc:docMk/>
          <pc:sldMk cId="1548059795" sldId="439"/>
        </pc:sldMkLst>
        <pc:spChg chg="mod">
          <ac:chgData name="Niranjana Rajesh" userId="43dc2825-6106-411f-963a-a383a1d7d429" providerId="ADAL" clId="{A236E636-B115-44A7-8389-A460ECA142FB}" dt="2023-06-09T07:56:31.674" v="1354" actId="27636"/>
          <ac:spMkLst>
            <pc:docMk/>
            <pc:sldMk cId="1548059795" sldId="439"/>
            <ac:spMk id="5" creationId="{1A0E7BFD-907F-9A78-0B6A-FA9849D9E0F2}"/>
          </ac:spMkLst>
        </pc:spChg>
      </pc:sldChg>
      <pc:sldChg chg="del">
        <pc:chgData name="Niranjana Rajesh" userId="43dc2825-6106-411f-963a-a383a1d7d429" providerId="ADAL" clId="{A236E636-B115-44A7-8389-A460ECA142FB}" dt="2023-06-18T07:06:42.935" v="1432" actId="2696"/>
        <pc:sldMkLst>
          <pc:docMk/>
          <pc:sldMk cId="4096731119" sldId="773"/>
        </pc:sldMkLst>
      </pc:sldChg>
      <pc:sldChg chg="del">
        <pc:chgData name="Niranjana Rajesh" userId="43dc2825-6106-411f-963a-a383a1d7d429" providerId="ADAL" clId="{A236E636-B115-44A7-8389-A460ECA142FB}" dt="2023-06-18T07:06:32.753" v="1429" actId="2696"/>
        <pc:sldMkLst>
          <pc:docMk/>
          <pc:sldMk cId="4128185087" sldId="829"/>
        </pc:sldMkLst>
      </pc:sldChg>
      <pc:sldChg chg="del">
        <pc:chgData name="Niranjana Rajesh" userId="43dc2825-6106-411f-963a-a383a1d7d429" providerId="ADAL" clId="{A236E636-B115-44A7-8389-A460ECA142FB}" dt="2023-06-18T07:06:36.288" v="1430" actId="2696"/>
        <pc:sldMkLst>
          <pc:docMk/>
          <pc:sldMk cId="3058608377" sldId="836"/>
        </pc:sldMkLst>
      </pc:sldChg>
      <pc:sldChg chg="del">
        <pc:chgData name="Niranjana Rajesh" userId="43dc2825-6106-411f-963a-a383a1d7d429" providerId="ADAL" clId="{A236E636-B115-44A7-8389-A460ECA142FB}" dt="2023-06-18T07:06:39.681" v="1431" actId="2696"/>
        <pc:sldMkLst>
          <pc:docMk/>
          <pc:sldMk cId="436742010" sldId="837"/>
        </pc:sldMkLst>
      </pc:sldChg>
      <pc:sldChg chg="addSp delSp modSp mod">
        <pc:chgData name="Niranjana Rajesh" userId="43dc2825-6106-411f-963a-a383a1d7d429" providerId="ADAL" clId="{A236E636-B115-44A7-8389-A460ECA142FB}" dt="2023-06-20T15:19:46.551" v="1655" actId="1076"/>
        <pc:sldMkLst>
          <pc:docMk/>
          <pc:sldMk cId="2930965391" sldId="2147374850"/>
        </pc:sldMkLst>
        <pc:spChg chg="mod">
          <ac:chgData name="Niranjana Rajesh" userId="43dc2825-6106-411f-963a-a383a1d7d429" providerId="ADAL" clId="{A236E636-B115-44A7-8389-A460ECA142FB}" dt="2023-06-20T10:24:33.980" v="1566" actId="20577"/>
          <ac:spMkLst>
            <pc:docMk/>
            <pc:sldMk cId="2930965391" sldId="2147374850"/>
            <ac:spMk id="4" creationId="{1C64243D-9252-FEF9-B5C7-EABDCD444607}"/>
          </ac:spMkLst>
        </pc:spChg>
        <pc:picChg chg="add del mod">
          <ac:chgData name="Niranjana Rajesh" userId="43dc2825-6106-411f-963a-a383a1d7d429" providerId="ADAL" clId="{A236E636-B115-44A7-8389-A460ECA142FB}" dt="2023-06-20T10:26:29.518" v="1567" actId="478"/>
          <ac:picMkLst>
            <pc:docMk/>
            <pc:sldMk cId="2930965391" sldId="2147374850"/>
            <ac:picMk id="6" creationId="{5E470809-9BC2-2623-B2C3-02EF6CEA114A}"/>
          </ac:picMkLst>
        </pc:picChg>
        <pc:picChg chg="add del mod">
          <ac:chgData name="Niranjana Rajesh" userId="43dc2825-6106-411f-963a-a383a1d7d429" providerId="ADAL" clId="{A236E636-B115-44A7-8389-A460ECA142FB}" dt="2023-06-15T15:54:37.563" v="1424" actId="21"/>
          <ac:picMkLst>
            <pc:docMk/>
            <pc:sldMk cId="2930965391" sldId="2147374850"/>
            <ac:picMk id="6" creationId="{CC172AF7-0330-C2F8-2CC7-838767C35B35}"/>
          </ac:picMkLst>
        </pc:picChg>
        <pc:picChg chg="add del mod">
          <ac:chgData name="Niranjana Rajesh" userId="43dc2825-6106-411f-963a-a383a1d7d429" providerId="ADAL" clId="{A236E636-B115-44A7-8389-A460ECA142FB}" dt="2023-06-20T15:15:31.842" v="1646" actId="478"/>
          <ac:picMkLst>
            <pc:docMk/>
            <pc:sldMk cId="2930965391" sldId="2147374850"/>
            <ac:picMk id="8" creationId="{37AA7D28-8DF3-1328-CBA1-18901210065F}"/>
          </ac:picMkLst>
        </pc:picChg>
        <pc:picChg chg="add mod">
          <ac:chgData name="Niranjana Rajesh" userId="43dc2825-6106-411f-963a-a383a1d7d429" providerId="ADAL" clId="{A236E636-B115-44A7-8389-A460ECA142FB}" dt="2023-06-20T15:19:46.551" v="1655" actId="1076"/>
          <ac:picMkLst>
            <pc:docMk/>
            <pc:sldMk cId="2930965391" sldId="2147374850"/>
            <ac:picMk id="10" creationId="{08F465F3-9A8C-C433-A045-A7D3D0F0F85D}"/>
          </ac:picMkLst>
        </pc:picChg>
      </pc:sldChg>
      <pc:sldChg chg="modSp add mod">
        <pc:chgData name="Niranjana Rajesh" userId="43dc2825-6106-411f-963a-a383a1d7d429" providerId="ADAL" clId="{A236E636-B115-44A7-8389-A460ECA142FB}" dt="2023-06-19T13:09:57.657" v="1509" actId="14100"/>
        <pc:sldMkLst>
          <pc:docMk/>
          <pc:sldMk cId="2131334492" sldId="2147374853"/>
        </pc:sldMkLst>
        <pc:spChg chg="mod">
          <ac:chgData name="Niranjana Rajesh" userId="43dc2825-6106-411f-963a-a383a1d7d429" providerId="ADAL" clId="{A236E636-B115-44A7-8389-A460ECA142FB}" dt="2023-06-19T13:09:57.657" v="1509" actId="14100"/>
          <ac:spMkLst>
            <pc:docMk/>
            <pc:sldMk cId="2131334492" sldId="2147374853"/>
            <ac:spMk id="3" creationId="{74D38EA8-9FE9-9047-3397-C82BB1BC2151}"/>
          </ac:spMkLst>
        </pc:spChg>
      </pc:sldChg>
      <pc:sldChg chg="delSp modSp add mod">
        <pc:chgData name="Niranjana Rajesh" userId="43dc2825-6106-411f-963a-a383a1d7d429" providerId="ADAL" clId="{A236E636-B115-44A7-8389-A460ECA142FB}" dt="2023-06-13T17:34:49.482" v="1390"/>
        <pc:sldMkLst>
          <pc:docMk/>
          <pc:sldMk cId="2034496485" sldId="2147374854"/>
        </pc:sldMkLst>
        <pc:spChg chg="del mod">
          <ac:chgData name="Niranjana Rajesh" userId="43dc2825-6106-411f-963a-a383a1d7d429" providerId="ADAL" clId="{A236E636-B115-44A7-8389-A460ECA142FB}" dt="2023-06-13T17:34:49.482" v="1390"/>
          <ac:spMkLst>
            <pc:docMk/>
            <pc:sldMk cId="2034496485" sldId="2147374854"/>
            <ac:spMk id="17" creationId="{AC1603E2-7225-D631-0A5D-4EF9652B2B0C}"/>
          </ac:spMkLst>
        </pc:spChg>
        <pc:spChg chg="del mod">
          <ac:chgData name="Niranjana Rajesh" userId="43dc2825-6106-411f-963a-a383a1d7d429" providerId="ADAL" clId="{A236E636-B115-44A7-8389-A460ECA142FB}" dt="2023-06-13T17:34:49.479" v="1388"/>
          <ac:spMkLst>
            <pc:docMk/>
            <pc:sldMk cId="2034496485" sldId="2147374854"/>
            <ac:spMk id="34" creationId="{724CFC56-AE5C-448B-9F72-F57F297529F4}"/>
          </ac:spMkLst>
        </pc:spChg>
        <pc:grpChg chg="del">
          <ac:chgData name="Niranjana Rajesh" userId="43dc2825-6106-411f-963a-a383a1d7d429" providerId="ADAL" clId="{A236E636-B115-44A7-8389-A460ECA142FB}" dt="2023-06-13T17:34:38.602" v="1383" actId="478"/>
          <ac:grpSpMkLst>
            <pc:docMk/>
            <pc:sldMk cId="2034496485" sldId="2147374854"/>
            <ac:grpSpMk id="2" creationId="{15EBB19C-1B0E-907B-2647-2686565B299C}"/>
          </ac:grpSpMkLst>
        </pc:grpChg>
      </pc:sldChg>
      <pc:sldChg chg="modSp mod">
        <pc:chgData name="Niranjana Rajesh" userId="43dc2825-6106-411f-963a-a383a1d7d429" providerId="ADAL" clId="{A236E636-B115-44A7-8389-A460ECA142FB}" dt="2023-06-15T09:34:40.113" v="1393" actId="1076"/>
        <pc:sldMkLst>
          <pc:docMk/>
          <pc:sldMk cId="3951829472" sldId="2147374860"/>
        </pc:sldMkLst>
        <pc:picChg chg="mod">
          <ac:chgData name="Niranjana Rajesh" userId="43dc2825-6106-411f-963a-a383a1d7d429" providerId="ADAL" clId="{A236E636-B115-44A7-8389-A460ECA142FB}" dt="2023-06-15T09:34:40.113" v="1393" actId="1076"/>
          <ac:picMkLst>
            <pc:docMk/>
            <pc:sldMk cId="3951829472" sldId="2147374860"/>
            <ac:picMk id="2" creationId="{01D45A11-6935-9FDC-A2DE-A9D29A2A015E}"/>
          </ac:picMkLst>
        </pc:picChg>
      </pc:sldChg>
      <pc:sldChg chg="delSp modSp mod">
        <pc:chgData name="Niranjana Rajesh" userId="43dc2825-6106-411f-963a-a383a1d7d429" providerId="ADAL" clId="{A236E636-B115-44A7-8389-A460ECA142FB}" dt="2023-06-18T07:08:05.025" v="1438"/>
        <pc:sldMkLst>
          <pc:docMk/>
          <pc:sldMk cId="4248978637" sldId="2147374863"/>
        </pc:sldMkLst>
        <pc:spChg chg="del mod">
          <ac:chgData name="Niranjana Rajesh" userId="43dc2825-6106-411f-963a-a383a1d7d429" providerId="ADAL" clId="{A236E636-B115-44A7-8389-A460ECA142FB}" dt="2023-06-18T07:08:05.025" v="1438"/>
          <ac:spMkLst>
            <pc:docMk/>
            <pc:sldMk cId="4248978637" sldId="2147374863"/>
            <ac:spMk id="2" creationId="{026E42E7-79D2-380D-6DA1-2D74885C967E}"/>
          </ac:spMkLst>
        </pc:spChg>
      </pc:sldChg>
      <pc:sldChg chg="add del ord">
        <pc:chgData name="Niranjana Rajesh" userId="43dc2825-6106-411f-963a-a383a1d7d429" providerId="ADAL" clId="{A236E636-B115-44A7-8389-A460ECA142FB}" dt="2023-06-19T13:00:47.987" v="1462" actId="2696"/>
        <pc:sldMkLst>
          <pc:docMk/>
          <pc:sldMk cId="961570874" sldId="2147374865"/>
        </pc:sldMkLst>
      </pc:sldChg>
      <pc:sldChg chg="add del ord">
        <pc:chgData name="Niranjana Rajesh" userId="43dc2825-6106-411f-963a-a383a1d7d429" providerId="ADAL" clId="{A236E636-B115-44A7-8389-A460ECA142FB}" dt="2023-06-19T10:51:44.458" v="1446" actId="2696"/>
        <pc:sldMkLst>
          <pc:docMk/>
          <pc:sldMk cId="1290347829" sldId="2147374866"/>
        </pc:sldMkLst>
      </pc:sldChg>
      <pc:sldChg chg="addSp modSp new del mod ord">
        <pc:chgData name="Niranjana Rajesh" userId="43dc2825-6106-411f-963a-a383a1d7d429" providerId="ADAL" clId="{A236E636-B115-44A7-8389-A460ECA142FB}" dt="2023-06-19T14:41:30.687" v="1519" actId="2696"/>
        <pc:sldMkLst>
          <pc:docMk/>
          <pc:sldMk cId="4281553489" sldId="2147374868"/>
        </pc:sldMkLst>
        <pc:picChg chg="add mod">
          <ac:chgData name="Niranjana Rajesh" userId="43dc2825-6106-411f-963a-a383a1d7d429" providerId="ADAL" clId="{A236E636-B115-44A7-8389-A460ECA142FB}" dt="2023-06-19T10:51:34.969" v="1445" actId="14100"/>
          <ac:picMkLst>
            <pc:docMk/>
            <pc:sldMk cId="4281553489" sldId="2147374868"/>
            <ac:picMk id="5" creationId="{EDD2ECE8-B8F6-25EC-CA6F-93DE92818599}"/>
          </ac:picMkLst>
        </pc:picChg>
      </pc:sldChg>
      <pc:sldChg chg="addSp delSp modSp new mod ord">
        <pc:chgData name="Niranjana Rajesh" userId="43dc2825-6106-411f-963a-a383a1d7d429" providerId="ADAL" clId="{A236E636-B115-44A7-8389-A460ECA142FB}" dt="2023-06-19T14:44:10.791" v="1549" actId="1076"/>
        <pc:sldMkLst>
          <pc:docMk/>
          <pc:sldMk cId="1085856887" sldId="2147374869"/>
        </pc:sldMkLst>
        <pc:picChg chg="add del mod">
          <ac:chgData name="Niranjana Rajesh" userId="43dc2825-6106-411f-963a-a383a1d7d429" providerId="ADAL" clId="{A236E636-B115-44A7-8389-A460ECA142FB}" dt="2023-06-19T14:42:26.891" v="1535" actId="478"/>
          <ac:picMkLst>
            <pc:docMk/>
            <pc:sldMk cId="1085856887" sldId="2147374869"/>
            <ac:picMk id="5" creationId="{03B7BEE1-8200-B04A-FD53-063A00CFF118}"/>
          </ac:picMkLst>
        </pc:picChg>
        <pc:picChg chg="add del mod">
          <ac:chgData name="Niranjana Rajesh" userId="43dc2825-6106-411f-963a-a383a1d7d429" providerId="ADAL" clId="{A236E636-B115-44A7-8389-A460ECA142FB}" dt="2023-06-19T14:42:48.027" v="1539" actId="478"/>
          <ac:picMkLst>
            <pc:docMk/>
            <pc:sldMk cId="1085856887" sldId="2147374869"/>
            <ac:picMk id="7" creationId="{F812F466-23A5-13E1-3270-306FA4490B56}"/>
          </ac:picMkLst>
        </pc:picChg>
        <pc:picChg chg="add del mod">
          <ac:chgData name="Niranjana Rajesh" userId="43dc2825-6106-411f-963a-a383a1d7d429" providerId="ADAL" clId="{A236E636-B115-44A7-8389-A460ECA142FB}" dt="2023-06-19T14:43:01.043" v="1543" actId="478"/>
          <ac:picMkLst>
            <pc:docMk/>
            <pc:sldMk cId="1085856887" sldId="2147374869"/>
            <ac:picMk id="9" creationId="{9550669E-236E-086B-A85A-65D28EE6723E}"/>
          </ac:picMkLst>
        </pc:picChg>
        <pc:picChg chg="add mod">
          <ac:chgData name="Niranjana Rajesh" userId="43dc2825-6106-411f-963a-a383a1d7d429" providerId="ADAL" clId="{A236E636-B115-44A7-8389-A460ECA142FB}" dt="2023-06-19T14:44:10.791" v="1549" actId="1076"/>
          <ac:picMkLst>
            <pc:docMk/>
            <pc:sldMk cId="1085856887" sldId="2147374869"/>
            <ac:picMk id="11" creationId="{A8469293-EDBE-86E4-1AD8-6B0743E4F38C}"/>
          </ac:picMkLst>
        </pc:picChg>
      </pc:sldChg>
      <pc:sldChg chg="add ord">
        <pc:chgData name="Niranjana Rajesh" userId="43dc2825-6106-411f-963a-a383a1d7d429" providerId="ADAL" clId="{A236E636-B115-44A7-8389-A460ECA142FB}" dt="2023-06-19T13:00:43.732" v="1461"/>
        <pc:sldMkLst>
          <pc:docMk/>
          <pc:sldMk cId="4059039215" sldId="2147374870"/>
        </pc:sldMkLst>
      </pc:sldChg>
      <pc:sldChg chg="addSp delSp modSp new mod ord">
        <pc:chgData name="Niranjana Rajesh" userId="43dc2825-6106-411f-963a-a383a1d7d429" providerId="ADAL" clId="{A236E636-B115-44A7-8389-A460ECA142FB}" dt="2023-06-19T14:42:14.294" v="1534" actId="1076"/>
        <pc:sldMkLst>
          <pc:docMk/>
          <pc:sldMk cId="1283222958" sldId="2147374871"/>
        </pc:sldMkLst>
        <pc:picChg chg="add del mod">
          <ac:chgData name="Niranjana Rajesh" userId="43dc2825-6106-411f-963a-a383a1d7d429" providerId="ADAL" clId="{A236E636-B115-44A7-8389-A460ECA142FB}" dt="2023-06-19T14:41:51.868" v="1525" actId="478"/>
          <ac:picMkLst>
            <pc:docMk/>
            <pc:sldMk cId="1283222958" sldId="2147374871"/>
            <ac:picMk id="3" creationId="{11255588-C6A7-C48D-5CC8-C9A5CE62BD5F}"/>
          </ac:picMkLst>
        </pc:picChg>
        <pc:picChg chg="add mod">
          <ac:chgData name="Niranjana Rajesh" userId="43dc2825-6106-411f-963a-a383a1d7d429" providerId="ADAL" clId="{A236E636-B115-44A7-8389-A460ECA142FB}" dt="2023-06-19T14:42:14.294" v="1534" actId="1076"/>
          <ac:picMkLst>
            <pc:docMk/>
            <pc:sldMk cId="1283222958" sldId="2147374871"/>
            <ac:picMk id="5" creationId="{2F05D35B-50F0-8A28-5154-B53C362FDE7C}"/>
          </ac:picMkLst>
        </pc:picChg>
      </pc:sldChg>
      <pc:sldChg chg="addSp modSp new mod">
        <pc:chgData name="Niranjana Rajesh" userId="43dc2825-6106-411f-963a-a383a1d7d429" providerId="ADAL" clId="{A236E636-B115-44A7-8389-A460ECA142FB}" dt="2023-06-19T14:41:24.656" v="1518" actId="1076"/>
        <pc:sldMkLst>
          <pc:docMk/>
          <pc:sldMk cId="1843055419" sldId="2147374872"/>
        </pc:sldMkLst>
        <pc:picChg chg="add mod">
          <ac:chgData name="Niranjana Rajesh" userId="43dc2825-6106-411f-963a-a383a1d7d429" providerId="ADAL" clId="{A236E636-B115-44A7-8389-A460ECA142FB}" dt="2023-06-19T14:41:24.656" v="1518" actId="1076"/>
          <ac:picMkLst>
            <pc:docMk/>
            <pc:sldMk cId="1843055419" sldId="2147374872"/>
            <ac:picMk id="3" creationId="{3E0F4CF2-E60B-2A99-7C92-12826DA39424}"/>
          </ac:picMkLst>
        </pc:picChg>
      </pc:sldChg>
      <pc:sldChg chg="add del">
        <pc:chgData name="Niranjana Rajesh" userId="43dc2825-6106-411f-963a-a383a1d7d429" providerId="ADAL" clId="{A236E636-B115-44A7-8389-A460ECA142FB}" dt="2023-06-19T13:10:14.918" v="1511" actId="2696"/>
        <pc:sldMkLst>
          <pc:docMk/>
          <pc:sldMk cId="3412385974" sldId="2147374872"/>
        </pc:sldMkLst>
      </pc:sldChg>
      <pc:sldChg chg="modSp add mod ord">
        <pc:chgData name="Niranjana Rajesh" userId="43dc2825-6106-411f-963a-a383a1d7d429" providerId="ADAL" clId="{A236E636-B115-44A7-8389-A460ECA142FB}" dt="2023-06-20T16:00:24.610" v="1769" actId="20577"/>
        <pc:sldMkLst>
          <pc:docMk/>
          <pc:sldMk cId="802007085" sldId="2147374873"/>
        </pc:sldMkLst>
        <pc:spChg chg="mod">
          <ac:chgData name="Niranjana Rajesh" userId="43dc2825-6106-411f-963a-a383a1d7d429" providerId="ADAL" clId="{A236E636-B115-44A7-8389-A460ECA142FB}" dt="2023-06-20T16:00:24.610" v="1769" actId="20577"/>
          <ac:spMkLst>
            <pc:docMk/>
            <pc:sldMk cId="802007085" sldId="2147374873"/>
            <ac:spMk id="3" creationId="{74D38EA8-9FE9-9047-3397-C82BB1BC2151}"/>
          </ac:spMkLst>
        </pc:spChg>
      </pc:sldChg>
      <pc:sldChg chg="new del ord">
        <pc:chgData name="Niranjana Rajesh" userId="43dc2825-6106-411f-963a-a383a1d7d429" providerId="ADAL" clId="{A236E636-B115-44A7-8389-A460ECA142FB}" dt="2023-06-20T15:01:40.721" v="1582" actId="2696"/>
        <pc:sldMkLst>
          <pc:docMk/>
          <pc:sldMk cId="2438016756" sldId="2147374873"/>
        </pc:sldMkLst>
      </pc:sldChg>
      <pc:sldChg chg="new del">
        <pc:chgData name="Niranjana Rajesh" userId="43dc2825-6106-411f-963a-a383a1d7d429" providerId="ADAL" clId="{A236E636-B115-44A7-8389-A460ECA142FB}" dt="2023-06-20T15:01:43.564" v="1583" actId="2696"/>
        <pc:sldMkLst>
          <pc:docMk/>
          <pc:sldMk cId="2564976753" sldId="2147374874"/>
        </pc:sldMkLst>
      </pc:sldChg>
      <pc:sldMasterChg chg="del delSldLayout">
        <pc:chgData name="Niranjana Rajesh" userId="43dc2825-6106-411f-963a-a383a1d7d429" providerId="ADAL" clId="{A236E636-B115-44A7-8389-A460ECA142FB}" dt="2023-06-18T07:06:42.935" v="1432" actId="2696"/>
        <pc:sldMasterMkLst>
          <pc:docMk/>
          <pc:sldMasterMk cId="4007860117" sldId="2147483713"/>
        </pc:sldMasterMkLst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961252515" sldId="2147483714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537210888" sldId="2147483715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533916985" sldId="2147483716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3578411074" sldId="2147483717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667858501" sldId="2147483718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636693155" sldId="2147483719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454989288" sldId="2147483720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728276922" sldId="2147483721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4027658295" sldId="2147483722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14112046" sldId="2147483723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962652483" sldId="2147483724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8922561" sldId="2147483725"/>
          </pc:sldLayoutMkLst>
        </pc:sldLayoutChg>
      </pc:sldMasterChg>
    </pc:docChg>
  </pc:docChgLst>
  <pc:docChgLst>
    <pc:chgData name="Naomi Ho" userId="S::naomi.ho@bettercotton.org::2faf95aa-450d-4d35-8c7f-d27430629a1c" providerId="AD" clId="Web-{09A6DD61-14D6-1451-814A-26DA292E4B7A}"/>
    <pc:docChg chg="addSld modSld">
      <pc:chgData name="Naomi Ho" userId="S::naomi.ho@bettercotton.org::2faf95aa-450d-4d35-8c7f-d27430629a1c" providerId="AD" clId="Web-{09A6DD61-14D6-1451-814A-26DA292E4B7A}" dt="2023-06-05T15:35:41.354" v="41" actId="20577"/>
      <pc:docMkLst>
        <pc:docMk/>
      </pc:docMkLst>
      <pc:sldChg chg="modSp">
        <pc:chgData name="Naomi Ho" userId="S::naomi.ho@bettercotton.org::2faf95aa-450d-4d35-8c7f-d27430629a1c" providerId="AD" clId="Web-{09A6DD61-14D6-1451-814A-26DA292E4B7A}" dt="2023-06-05T15:34:13.727" v="0" actId="14100"/>
        <pc:sldMkLst>
          <pc:docMk/>
          <pc:sldMk cId="824739939" sldId="288"/>
        </pc:sldMkLst>
        <pc:grpChg chg="mod">
          <ac:chgData name="Naomi Ho" userId="S::naomi.ho@bettercotton.org::2faf95aa-450d-4d35-8c7f-d27430629a1c" providerId="AD" clId="Web-{09A6DD61-14D6-1451-814A-26DA292E4B7A}" dt="2023-06-05T15:34:13.727" v="0" actId="14100"/>
          <ac:grpSpMkLst>
            <pc:docMk/>
            <pc:sldMk cId="824739939" sldId="288"/>
            <ac:grpSpMk id="5" creationId="{36CF1129-B85E-9C0C-C8ED-3F2FBFCCA473}"/>
          </ac:grpSpMkLst>
        </pc:grpChg>
      </pc:sldChg>
      <pc:sldChg chg="delSp modSp add replId">
        <pc:chgData name="Naomi Ho" userId="S::naomi.ho@bettercotton.org::2faf95aa-450d-4d35-8c7f-d27430629a1c" providerId="AD" clId="Web-{09A6DD61-14D6-1451-814A-26DA292E4B7A}" dt="2023-06-05T15:35:41.354" v="41" actId="20577"/>
        <pc:sldMkLst>
          <pc:docMk/>
          <pc:sldMk cId="60931730" sldId="294"/>
        </pc:sldMkLst>
        <pc:spChg chg="del">
          <ac:chgData name="Naomi Ho" userId="S::naomi.ho@bettercotton.org::2faf95aa-450d-4d35-8c7f-d27430629a1c" providerId="AD" clId="Web-{09A6DD61-14D6-1451-814A-26DA292E4B7A}" dt="2023-06-05T15:34:46.165" v="3"/>
          <ac:spMkLst>
            <pc:docMk/>
            <pc:sldMk cId="60931730" sldId="294"/>
            <ac:spMk id="17" creationId="{AC1603E2-7225-D631-0A5D-4EF9652B2B0C}"/>
          </ac:spMkLst>
        </pc:spChg>
        <pc:spChg chg="mod">
          <ac:chgData name="Naomi Ho" userId="S::naomi.ho@bettercotton.org::2faf95aa-450d-4d35-8c7f-d27430629a1c" providerId="AD" clId="Web-{09A6DD61-14D6-1451-814A-26DA292E4B7A}" dt="2023-06-05T15:35:41.354" v="41" actId="20577"/>
          <ac:spMkLst>
            <pc:docMk/>
            <pc:sldMk cId="60931730" sldId="294"/>
            <ac:spMk id="18" creationId="{2FE7C207-7979-7DDB-C5B5-65975D660D5C}"/>
          </ac:spMkLst>
        </pc:spChg>
        <pc:grpChg chg="del">
          <ac:chgData name="Naomi Ho" userId="S::naomi.ho@bettercotton.org::2faf95aa-450d-4d35-8c7f-d27430629a1c" providerId="AD" clId="Web-{09A6DD61-14D6-1451-814A-26DA292E4B7A}" dt="2023-06-05T15:34:43.571" v="2"/>
          <ac:grpSpMkLst>
            <pc:docMk/>
            <pc:sldMk cId="60931730" sldId="294"/>
            <ac:grpSpMk id="5" creationId="{36CF1129-B85E-9C0C-C8ED-3F2FBFCCA473}"/>
          </ac:grpSpMkLst>
        </pc:grpChg>
        <pc:grpChg chg="del mod">
          <ac:chgData name="Naomi Ho" userId="S::naomi.ho@bettercotton.org::2faf95aa-450d-4d35-8c7f-d27430629a1c" providerId="AD" clId="Web-{09A6DD61-14D6-1451-814A-26DA292E4B7A}" dt="2023-06-05T15:35:03.212" v="11"/>
          <ac:grpSpMkLst>
            <pc:docMk/>
            <pc:sldMk cId="60931730" sldId="294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09A6DD61-14D6-1451-814A-26DA292E4B7A}" dt="2023-06-05T15:34:51.212" v="7"/>
          <ac:grpSpMkLst>
            <pc:docMk/>
            <pc:sldMk cId="60931730" sldId="294"/>
            <ac:grpSpMk id="36" creationId="{D510A60A-AFFE-0B65-DF06-0228F0EC747F}"/>
          </ac:grpSpMkLst>
        </pc:grpChg>
        <pc:cxnChg chg="del">
          <ac:chgData name="Naomi Ho" userId="S::naomi.ho@bettercotton.org::2faf95aa-450d-4d35-8c7f-d27430629a1c" providerId="AD" clId="Web-{09A6DD61-14D6-1451-814A-26DA292E4B7A}" dt="2023-06-05T15:34:47.759" v="4"/>
          <ac:cxnSpMkLst>
            <pc:docMk/>
            <pc:sldMk cId="60931730" sldId="294"/>
            <ac:cxnSpMk id="13" creationId="{5233BBF6-80B9-E37E-25FC-37CAB833B521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50.384" v="6"/>
          <ac:cxnSpMkLst>
            <pc:docMk/>
            <pc:sldMk cId="60931730" sldId="294"/>
            <ac:cxnSpMk id="14" creationId="{7EDE9661-4245-DD74-F6A2-DD7F25FB5E2B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49.337" v="5"/>
          <ac:cxnSpMkLst>
            <pc:docMk/>
            <pc:sldMk cId="60931730" sldId="294"/>
            <ac:cxnSpMk id="23" creationId="{EB2D47C8-B163-4B3B-BC37-222578A82313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54.071" v="8"/>
          <ac:cxnSpMkLst>
            <pc:docMk/>
            <pc:sldMk cId="60931730" sldId="294"/>
            <ac:cxnSpMk id="41" creationId="{F7EA56B0-54AB-54A6-296D-39845DF62FBF}"/>
          </ac:cxnSpMkLst>
        </pc:cxnChg>
      </pc:sldChg>
    </pc:docChg>
  </pc:docChgLst>
  <pc:docChgLst>
    <pc:chgData name="Naomi Ho" userId="2faf95aa-450d-4d35-8c7f-d27430629a1c" providerId="ADAL" clId="{88C9C868-AE14-4B3C-A5DF-FDD49B960046}"/>
    <pc:docChg chg="undo custSel addSld delSld modSld sldOrd">
      <pc:chgData name="Naomi Ho" userId="2faf95aa-450d-4d35-8c7f-d27430629a1c" providerId="ADAL" clId="{88C9C868-AE14-4B3C-A5DF-FDD49B960046}" dt="2023-06-20T18:59:57.216" v="227" actId="729"/>
      <pc:docMkLst>
        <pc:docMk/>
      </pc:docMkLst>
      <pc:sldChg chg="modSp mod">
        <pc:chgData name="Naomi Ho" userId="2faf95aa-450d-4d35-8c7f-d27430629a1c" providerId="ADAL" clId="{88C9C868-AE14-4B3C-A5DF-FDD49B960046}" dt="2023-06-14T13:10:18.195" v="140" actId="113"/>
        <pc:sldMkLst>
          <pc:docMk/>
          <pc:sldMk cId="2385738458" sldId="289"/>
        </pc:sldMkLst>
        <pc:spChg chg="mod">
          <ac:chgData name="Naomi Ho" userId="2faf95aa-450d-4d35-8c7f-d27430629a1c" providerId="ADAL" clId="{88C9C868-AE14-4B3C-A5DF-FDD49B960046}" dt="2023-06-14T13:10:18.195" v="140" actId="113"/>
          <ac:spMkLst>
            <pc:docMk/>
            <pc:sldMk cId="2385738458" sldId="289"/>
            <ac:spMk id="14" creationId="{27C6D366-ED4D-AF91-E26B-37FF441F8BB2}"/>
          </ac:spMkLst>
        </pc:spChg>
      </pc:sldChg>
      <pc:sldChg chg="ord">
        <pc:chgData name="Naomi Ho" userId="2faf95aa-450d-4d35-8c7f-d27430629a1c" providerId="ADAL" clId="{88C9C868-AE14-4B3C-A5DF-FDD49B960046}" dt="2023-06-07T19:55:32.201" v="2" actId="20578"/>
        <pc:sldMkLst>
          <pc:docMk/>
          <pc:sldMk cId="2869463670" sldId="290"/>
        </pc:sldMkLst>
      </pc:sldChg>
      <pc:sldChg chg="mod modShow">
        <pc:chgData name="Naomi Ho" userId="2faf95aa-450d-4d35-8c7f-d27430629a1c" providerId="ADAL" clId="{88C9C868-AE14-4B3C-A5DF-FDD49B960046}" dt="2023-06-20T18:59:57.216" v="227" actId="729"/>
        <pc:sldMkLst>
          <pc:docMk/>
          <pc:sldMk cId="1138175935" sldId="292"/>
        </pc:sldMkLst>
      </pc:sldChg>
      <pc:sldChg chg="del">
        <pc:chgData name="Naomi Ho" userId="2faf95aa-450d-4d35-8c7f-d27430629a1c" providerId="ADAL" clId="{88C9C868-AE14-4B3C-A5DF-FDD49B960046}" dt="2023-06-09T10:14:35.439" v="5" actId="2696"/>
        <pc:sldMkLst>
          <pc:docMk/>
          <pc:sldMk cId="515512297" sldId="296"/>
        </pc:sldMkLst>
      </pc:sldChg>
      <pc:sldChg chg="modSp mod">
        <pc:chgData name="Naomi Ho" userId="2faf95aa-450d-4d35-8c7f-d27430629a1c" providerId="ADAL" clId="{88C9C868-AE14-4B3C-A5DF-FDD49B960046}" dt="2023-06-09T10:15:23.011" v="8" actId="20577"/>
        <pc:sldMkLst>
          <pc:docMk/>
          <pc:sldMk cId="257024696" sldId="299"/>
        </pc:sldMkLst>
        <pc:spChg chg="mod">
          <ac:chgData name="Naomi Ho" userId="2faf95aa-450d-4d35-8c7f-d27430629a1c" providerId="ADAL" clId="{88C9C868-AE14-4B3C-A5DF-FDD49B960046}" dt="2023-06-09T10:15:23.011" v="8" actId="20577"/>
          <ac:spMkLst>
            <pc:docMk/>
            <pc:sldMk cId="257024696" sldId="299"/>
            <ac:spMk id="3" creationId="{74D38EA8-9FE9-9047-3397-C82BB1BC2151}"/>
          </ac:spMkLst>
        </pc:spChg>
      </pc:sldChg>
      <pc:sldChg chg="modSp del mod">
        <pc:chgData name="Naomi Ho" userId="2faf95aa-450d-4d35-8c7f-d27430629a1c" providerId="ADAL" clId="{88C9C868-AE14-4B3C-A5DF-FDD49B960046}" dt="2023-06-14T13:11:24.066" v="141" actId="47"/>
        <pc:sldMkLst>
          <pc:docMk/>
          <pc:sldMk cId="2716692719" sldId="300"/>
        </pc:sldMkLst>
        <pc:spChg chg="mod">
          <ac:chgData name="Naomi Ho" userId="2faf95aa-450d-4d35-8c7f-d27430629a1c" providerId="ADAL" clId="{88C9C868-AE14-4B3C-A5DF-FDD49B960046}" dt="2023-06-11T19:33:32.090" v="96" actId="20577"/>
          <ac:spMkLst>
            <pc:docMk/>
            <pc:sldMk cId="2716692719" sldId="300"/>
            <ac:spMk id="18" creationId="{A96764BA-4B60-99FF-7B16-CEACC1D3AB17}"/>
          </ac:spMkLst>
        </pc:spChg>
      </pc:sldChg>
      <pc:sldChg chg="modSp mod">
        <pc:chgData name="Naomi Ho" userId="2faf95aa-450d-4d35-8c7f-d27430629a1c" providerId="ADAL" clId="{88C9C868-AE14-4B3C-A5DF-FDD49B960046}" dt="2023-06-19T20:24:15.542" v="226" actId="20577"/>
        <pc:sldMkLst>
          <pc:docMk/>
          <pc:sldMk cId="4009788007" sldId="301"/>
        </pc:sldMkLst>
        <pc:spChg chg="mod">
          <ac:chgData name="Naomi Ho" userId="2faf95aa-450d-4d35-8c7f-d27430629a1c" providerId="ADAL" clId="{88C9C868-AE14-4B3C-A5DF-FDD49B960046}" dt="2023-06-19T20:24:15.542" v="226" actId="20577"/>
          <ac:spMkLst>
            <pc:docMk/>
            <pc:sldMk cId="4009788007" sldId="301"/>
            <ac:spMk id="3" creationId="{83974190-FD30-7FB7-9CD0-5BEC4D3EDC3E}"/>
          </ac:spMkLst>
        </pc:spChg>
        <pc:spChg chg="mod">
          <ac:chgData name="Naomi Ho" userId="2faf95aa-450d-4d35-8c7f-d27430629a1c" providerId="ADAL" clId="{88C9C868-AE14-4B3C-A5DF-FDD49B960046}" dt="2023-06-14T15:30:51.895" v="146" actId="1076"/>
          <ac:spMkLst>
            <pc:docMk/>
            <pc:sldMk cId="4009788007" sldId="301"/>
            <ac:spMk id="5" creationId="{4C41DB67-704C-61A3-DA26-79D5B3F49034}"/>
          </ac:spMkLst>
        </pc:spChg>
      </pc:sldChg>
      <pc:sldChg chg="modSp del mod">
        <pc:chgData name="Naomi Ho" userId="2faf95aa-450d-4d35-8c7f-d27430629a1c" providerId="ADAL" clId="{88C9C868-AE14-4B3C-A5DF-FDD49B960046}" dt="2023-06-14T15:23:36.489" v="142" actId="47"/>
        <pc:sldMkLst>
          <pc:docMk/>
          <pc:sldMk cId="3739414651" sldId="2147374851"/>
        </pc:sldMkLst>
        <pc:spChg chg="mod">
          <ac:chgData name="Naomi Ho" userId="2faf95aa-450d-4d35-8c7f-d27430629a1c" providerId="ADAL" clId="{88C9C868-AE14-4B3C-A5DF-FDD49B960046}" dt="2023-06-09T10:14:01.182" v="4" actId="20577"/>
          <ac:spMkLst>
            <pc:docMk/>
            <pc:sldMk cId="3739414651" sldId="2147374851"/>
            <ac:spMk id="9" creationId="{6E3EA578-C8D3-B0B0-C5B2-396C245DC41C}"/>
          </ac:spMkLst>
        </pc:spChg>
      </pc:sldChg>
      <pc:sldChg chg="mod modShow">
        <pc:chgData name="Naomi Ho" userId="2faf95aa-450d-4d35-8c7f-d27430629a1c" providerId="ADAL" clId="{88C9C868-AE14-4B3C-A5DF-FDD49B960046}" dt="2023-06-19T09:48:04.904" v="147" actId="729"/>
        <pc:sldMkLst>
          <pc:docMk/>
          <pc:sldMk cId="506989637" sldId="2147374855"/>
        </pc:sldMkLst>
      </pc:sldChg>
      <pc:sldChg chg="modSp mod">
        <pc:chgData name="Naomi Ho" userId="2faf95aa-450d-4d35-8c7f-d27430629a1c" providerId="ADAL" clId="{88C9C868-AE14-4B3C-A5DF-FDD49B960046}" dt="2023-06-19T09:52:08.613" v="205" actId="20577"/>
        <pc:sldMkLst>
          <pc:docMk/>
          <pc:sldMk cId="4248978637" sldId="2147374863"/>
        </pc:sldMkLst>
        <pc:spChg chg="mod">
          <ac:chgData name="Naomi Ho" userId="2faf95aa-450d-4d35-8c7f-d27430629a1c" providerId="ADAL" clId="{88C9C868-AE14-4B3C-A5DF-FDD49B960046}" dt="2023-06-19T09:52:08.613" v="205" actId="20577"/>
          <ac:spMkLst>
            <pc:docMk/>
            <pc:sldMk cId="4248978637" sldId="2147374863"/>
            <ac:spMk id="25" creationId="{DD37C7B6-AE61-47FE-9F3C-2EB017FB748E}"/>
          </ac:spMkLst>
        </pc:spChg>
      </pc:sldChg>
      <pc:sldChg chg="modSp mod">
        <pc:chgData name="Naomi Ho" userId="2faf95aa-450d-4d35-8c7f-d27430629a1c" providerId="ADAL" clId="{88C9C868-AE14-4B3C-A5DF-FDD49B960046}" dt="2023-06-19T09:50:18.161" v="155" actId="20577"/>
        <pc:sldMkLst>
          <pc:docMk/>
          <pc:sldMk cId="961570874" sldId="2147374865"/>
        </pc:sldMkLst>
        <pc:spChg chg="mod">
          <ac:chgData name="Naomi Ho" userId="2faf95aa-450d-4d35-8c7f-d27430629a1c" providerId="ADAL" clId="{88C9C868-AE14-4B3C-A5DF-FDD49B960046}" dt="2023-06-19T09:50:18.161" v="155" actId="20577"/>
          <ac:spMkLst>
            <pc:docMk/>
            <pc:sldMk cId="961570874" sldId="2147374865"/>
            <ac:spMk id="20" creationId="{01A05EAE-9924-A096-762A-25AD3271E03A}"/>
          </ac:spMkLst>
        </pc:spChg>
      </pc:sldChg>
      <pc:sldChg chg="modSp mod">
        <pc:chgData name="Naomi Ho" userId="2faf95aa-450d-4d35-8c7f-d27430629a1c" providerId="ADAL" clId="{88C9C868-AE14-4B3C-A5DF-FDD49B960046}" dt="2023-06-19T09:50:30.236" v="163" actId="20577"/>
        <pc:sldMkLst>
          <pc:docMk/>
          <pc:sldMk cId="1290347829" sldId="2147374866"/>
        </pc:sldMkLst>
        <pc:spChg chg="mod">
          <ac:chgData name="Naomi Ho" userId="2faf95aa-450d-4d35-8c7f-d27430629a1c" providerId="ADAL" clId="{88C9C868-AE14-4B3C-A5DF-FDD49B960046}" dt="2023-06-19T09:50:30.236" v="163" actId="20577"/>
          <ac:spMkLst>
            <pc:docMk/>
            <pc:sldMk cId="1290347829" sldId="2147374866"/>
            <ac:spMk id="20" creationId="{01A05EAE-9924-A096-762A-25AD3271E03A}"/>
          </ac:spMkLst>
        </pc:spChg>
      </pc:sldChg>
      <pc:sldChg chg="new">
        <pc:chgData name="Naomi Ho" userId="2faf95aa-450d-4d35-8c7f-d27430629a1c" providerId="ADAL" clId="{88C9C868-AE14-4B3C-A5DF-FDD49B960046}" dt="2023-06-19T09:52:13.531" v="206" actId="680"/>
        <pc:sldMkLst>
          <pc:docMk/>
          <pc:sldMk cId="763814619" sldId="2147374867"/>
        </pc:sldMkLst>
      </pc:sldChg>
      <pc:sldChg chg="modSp mod">
        <pc:chgData name="Naomi Ho" userId="2faf95aa-450d-4d35-8c7f-d27430629a1c" providerId="ADAL" clId="{88C9C868-AE14-4B3C-A5DF-FDD49B960046}" dt="2023-06-19T13:11:49.170" v="219" actId="14100"/>
        <pc:sldMkLst>
          <pc:docMk/>
          <pc:sldMk cId="4281553489" sldId="2147374868"/>
        </pc:sldMkLst>
        <pc:picChg chg="mod">
          <ac:chgData name="Naomi Ho" userId="2faf95aa-450d-4d35-8c7f-d27430629a1c" providerId="ADAL" clId="{88C9C868-AE14-4B3C-A5DF-FDD49B960046}" dt="2023-06-19T13:11:49.170" v="219" actId="14100"/>
          <ac:picMkLst>
            <pc:docMk/>
            <pc:sldMk cId="4281553489" sldId="2147374868"/>
            <ac:picMk id="5" creationId="{EDD2ECE8-B8F6-25EC-CA6F-93DE92818599}"/>
          </ac:picMkLst>
        </pc:picChg>
      </pc:sldChg>
    </pc:docChg>
  </pc:docChgLst>
  <pc:docChgLst>
    <pc:chgData name="Lara Cruz" userId="b0f71b28-16e3-44a7-b9d4-cbd6d38f3b0b" providerId="ADAL" clId="{B101B667-BF26-431E-9872-DE58BF1D877B}"/>
    <pc:docChg chg="undo redo custSel addSld delSld modSld sldOrd">
      <pc:chgData name="Lara Cruz" userId="b0f71b28-16e3-44a7-b9d4-cbd6d38f3b0b" providerId="ADAL" clId="{B101B667-BF26-431E-9872-DE58BF1D877B}" dt="2023-06-14T15:02:41.253" v="1728"/>
      <pc:docMkLst>
        <pc:docMk/>
      </pc:docMkLst>
      <pc:sldChg chg="modSp add mod">
        <pc:chgData name="Lara Cruz" userId="b0f71b28-16e3-44a7-b9d4-cbd6d38f3b0b" providerId="ADAL" clId="{B101B667-BF26-431E-9872-DE58BF1D877B}" dt="2023-06-14T15:02:31.708" v="1726" actId="1076"/>
        <pc:sldMkLst>
          <pc:docMk/>
          <pc:sldMk cId="1758700890" sldId="270"/>
        </pc:sldMkLst>
        <pc:spChg chg="mod">
          <ac:chgData name="Lara Cruz" userId="b0f71b28-16e3-44a7-b9d4-cbd6d38f3b0b" providerId="ADAL" clId="{B101B667-BF26-431E-9872-DE58BF1D877B}" dt="2023-06-14T15:02:14.226" v="1696" actId="14100"/>
          <ac:spMkLst>
            <pc:docMk/>
            <pc:sldMk cId="1758700890" sldId="270"/>
            <ac:spMk id="5" creationId="{C1A5A127-5AB3-431C-8585-BC245366B685}"/>
          </ac:spMkLst>
        </pc:spChg>
        <pc:spChg chg="mod">
          <ac:chgData name="Lara Cruz" userId="b0f71b28-16e3-44a7-b9d4-cbd6d38f3b0b" providerId="ADAL" clId="{B101B667-BF26-431E-9872-DE58BF1D877B}" dt="2023-06-14T15:02:31.708" v="1726" actId="1076"/>
          <ac:spMkLst>
            <pc:docMk/>
            <pc:sldMk cId="1758700890" sldId="270"/>
            <ac:spMk id="19" creationId="{BDD267D5-DA77-4BD6-A04B-E8AE0EE982B2}"/>
          </ac:spMkLst>
        </pc:spChg>
        <pc:grpChg chg="mod">
          <ac:chgData name="Lara Cruz" userId="b0f71b28-16e3-44a7-b9d4-cbd6d38f3b0b" providerId="ADAL" clId="{B101B667-BF26-431E-9872-DE58BF1D877B}" dt="2023-06-14T15:01:43.321" v="1677" actId="14826"/>
          <ac:grpSpMkLst>
            <pc:docMk/>
            <pc:sldMk cId="1758700890" sldId="270"/>
            <ac:grpSpMk id="6" creationId="{96E1E9C5-3CEE-8130-05ED-6712A191E7ED}"/>
          </ac:grpSpMkLst>
        </pc:grpChg>
        <pc:picChg chg="mod">
          <ac:chgData name="Lara Cruz" userId="b0f71b28-16e3-44a7-b9d4-cbd6d38f3b0b" providerId="ADAL" clId="{B101B667-BF26-431E-9872-DE58BF1D877B}" dt="2023-06-14T15:01:43.321" v="1677" actId="14826"/>
          <ac:picMkLst>
            <pc:docMk/>
            <pc:sldMk cId="1758700890" sldId="270"/>
            <ac:picMk id="9" creationId="{DB187CDC-32B7-0496-6A44-79225533C291}"/>
          </ac:picMkLst>
        </pc:picChg>
        <pc:picChg chg="mod modCrop">
          <ac:chgData name="Lara Cruz" userId="b0f71b28-16e3-44a7-b9d4-cbd6d38f3b0b" providerId="ADAL" clId="{B101B667-BF26-431E-9872-DE58BF1D877B}" dt="2023-06-14T15:01:59.235" v="1678" actId="18131"/>
          <ac:picMkLst>
            <pc:docMk/>
            <pc:sldMk cId="1758700890" sldId="270"/>
            <ac:picMk id="10" creationId="{2D44B0C6-90D6-72DE-918C-534776DDABAB}"/>
          </ac:picMkLst>
        </pc:picChg>
      </pc:sldChg>
      <pc:sldChg chg="del">
        <pc:chgData name="Lara Cruz" userId="b0f71b28-16e3-44a7-b9d4-cbd6d38f3b0b" providerId="ADAL" clId="{B101B667-BF26-431E-9872-DE58BF1D877B}" dt="2023-04-28T09:03:26.711" v="72" actId="47"/>
        <pc:sldMkLst>
          <pc:docMk/>
          <pc:sldMk cId="3375207421" sldId="279"/>
        </pc:sldMkLst>
      </pc:sldChg>
      <pc:sldChg chg="addSp delSp modSp add mod">
        <pc:chgData name="Lara Cruz" userId="b0f71b28-16e3-44a7-b9d4-cbd6d38f3b0b" providerId="ADAL" clId="{B101B667-BF26-431E-9872-DE58BF1D877B}" dt="2023-06-01T15:13:12.233" v="720" actId="14100"/>
        <pc:sldMkLst>
          <pc:docMk/>
          <pc:sldMk cId="1920907082" sldId="281"/>
        </pc:sldMkLst>
        <pc:spChg chg="mod">
          <ac:chgData name="Lara Cruz" userId="b0f71b28-16e3-44a7-b9d4-cbd6d38f3b0b" providerId="ADAL" clId="{B101B667-BF26-431E-9872-DE58BF1D877B}" dt="2023-06-01T15:13:12.233" v="720" actId="14100"/>
          <ac:spMkLst>
            <pc:docMk/>
            <pc:sldMk cId="1920907082" sldId="281"/>
            <ac:spMk id="12" creationId="{662B4C14-3F7F-223A-BDE5-445ED3C1FE6A}"/>
          </ac:spMkLst>
        </pc:spChg>
        <pc:spChg chg="mod">
          <ac:chgData name="Lara Cruz" userId="b0f71b28-16e3-44a7-b9d4-cbd6d38f3b0b" providerId="ADAL" clId="{B101B667-BF26-431E-9872-DE58BF1D877B}" dt="2023-06-01T15:12:07.204" v="716" actId="20577"/>
          <ac:spMkLst>
            <pc:docMk/>
            <pc:sldMk cId="1920907082" sldId="281"/>
            <ac:spMk id="18" creationId="{A96764BA-4B60-99FF-7B16-CEACC1D3AB17}"/>
          </ac:spMkLst>
        </pc:spChg>
        <pc:picChg chg="mod">
          <ac:chgData name="Lara Cruz" userId="b0f71b28-16e3-44a7-b9d4-cbd6d38f3b0b" providerId="ADAL" clId="{B101B667-BF26-431E-9872-DE58BF1D877B}" dt="2023-06-01T15:11:59.313" v="703" actId="14100"/>
          <ac:picMkLst>
            <pc:docMk/>
            <pc:sldMk cId="1920907082" sldId="281"/>
            <ac:picMk id="3" creationId="{AAA2643C-D414-BA28-749A-5B5B966180CC}"/>
          </ac:picMkLst>
        </pc:picChg>
        <pc:picChg chg="del">
          <ac:chgData name="Lara Cruz" userId="b0f71b28-16e3-44a7-b9d4-cbd6d38f3b0b" providerId="ADAL" clId="{B101B667-BF26-431E-9872-DE58BF1D877B}" dt="2023-06-01T15:13:05.677" v="719" actId="478"/>
          <ac:picMkLst>
            <pc:docMk/>
            <pc:sldMk cId="1920907082" sldId="281"/>
            <ac:picMk id="8" creationId="{FAEE7493-02CC-FB7C-96ED-BF8672137C0F}"/>
          </ac:picMkLst>
        </pc:picChg>
        <pc:picChg chg="mod">
          <ac:chgData name="Lara Cruz" userId="b0f71b28-16e3-44a7-b9d4-cbd6d38f3b0b" providerId="ADAL" clId="{B101B667-BF26-431E-9872-DE58BF1D877B}" dt="2023-06-01T15:12:57.878" v="718" actId="14826"/>
          <ac:picMkLst>
            <pc:docMk/>
            <pc:sldMk cId="1920907082" sldId="281"/>
            <ac:picMk id="15" creationId="{048AF8F7-9AFE-4044-9837-6B6CD3305E92}"/>
          </ac:picMkLst>
        </pc:picChg>
        <pc:picChg chg="add del mod">
          <ac:chgData name="Lara Cruz" userId="b0f71b28-16e3-44a7-b9d4-cbd6d38f3b0b" providerId="ADAL" clId="{B101B667-BF26-431E-9872-DE58BF1D877B}" dt="2023-06-01T15:11:56.181" v="702" actId="1076"/>
          <ac:picMkLst>
            <pc:docMk/>
            <pc:sldMk cId="1920907082" sldId="281"/>
            <ac:picMk id="21" creationId="{409D514F-6128-A433-FFAD-9C6141DEBDD8}"/>
          </ac:picMkLst>
        </pc:picChg>
      </pc:sldChg>
      <pc:sldChg chg="modSp mod">
        <pc:chgData name="Lara Cruz" userId="b0f71b28-16e3-44a7-b9d4-cbd6d38f3b0b" providerId="ADAL" clId="{B101B667-BF26-431E-9872-DE58BF1D877B}" dt="2023-06-06T09:34:38.866" v="1015" actId="20577"/>
        <pc:sldMkLst>
          <pc:docMk/>
          <pc:sldMk cId="859432995" sldId="283"/>
        </pc:sldMkLst>
        <pc:spChg chg="mod">
          <ac:chgData name="Lara Cruz" userId="b0f71b28-16e3-44a7-b9d4-cbd6d38f3b0b" providerId="ADAL" clId="{B101B667-BF26-431E-9872-DE58BF1D877B}" dt="2023-06-06T09:27:01.712" v="970" actId="1076"/>
          <ac:spMkLst>
            <pc:docMk/>
            <pc:sldMk cId="859432995" sldId="283"/>
            <ac:spMk id="2" creationId="{026E42E7-79D2-380D-6DA1-2D74885C967E}"/>
          </ac:spMkLst>
        </pc:spChg>
        <pc:spChg chg="mod">
          <ac:chgData name="Lara Cruz" userId="b0f71b28-16e3-44a7-b9d4-cbd6d38f3b0b" providerId="ADAL" clId="{B101B667-BF26-431E-9872-DE58BF1D877B}" dt="2023-06-06T09:27:07.160" v="972" actId="1076"/>
          <ac:spMkLst>
            <pc:docMk/>
            <pc:sldMk cId="859432995" sldId="283"/>
            <ac:spMk id="18" creationId="{8DE207BB-C5D4-4F24-B248-9E88BAE129BE}"/>
          </ac:spMkLst>
        </pc:spChg>
        <pc:spChg chg="mod">
          <ac:chgData name="Lara Cruz" userId="b0f71b28-16e3-44a7-b9d4-cbd6d38f3b0b" providerId="ADAL" clId="{B101B667-BF26-431E-9872-DE58BF1D877B}" dt="2023-06-06T09:34:38.866" v="1015" actId="20577"/>
          <ac:spMkLst>
            <pc:docMk/>
            <pc:sldMk cId="859432995" sldId="283"/>
            <ac:spMk id="25" creationId="{DD37C7B6-AE61-47FE-9F3C-2EB017FB748E}"/>
          </ac:spMkLst>
        </pc:spChg>
        <pc:picChg chg="mod">
          <ac:chgData name="Lara Cruz" userId="b0f71b28-16e3-44a7-b9d4-cbd6d38f3b0b" providerId="ADAL" clId="{B101B667-BF26-431E-9872-DE58BF1D877B}" dt="2023-04-28T09:02:55.995" v="65" actId="1076"/>
          <ac:picMkLst>
            <pc:docMk/>
            <pc:sldMk cId="859432995" sldId="283"/>
            <ac:picMk id="15" creationId="{0BBB648C-A6B7-4204-A7F5-4EA26B8A9EDA}"/>
          </ac:picMkLst>
        </pc:picChg>
      </pc:sldChg>
      <pc:sldChg chg="addSp delSp modSp mod ord">
        <pc:chgData name="Lara Cruz" userId="b0f71b28-16e3-44a7-b9d4-cbd6d38f3b0b" providerId="ADAL" clId="{B101B667-BF26-431E-9872-DE58BF1D877B}" dt="2023-06-14T15:02:41.253" v="1728"/>
        <pc:sldMkLst>
          <pc:docMk/>
          <pc:sldMk cId="3135040927" sldId="285"/>
        </pc:sldMkLst>
        <pc:grpChg chg="add mod">
          <ac:chgData name="Lara Cruz" userId="b0f71b28-16e3-44a7-b9d4-cbd6d38f3b0b" providerId="ADAL" clId="{B101B667-BF26-431E-9872-DE58BF1D877B}" dt="2023-05-25T12:47:49.080" v="675"/>
          <ac:grpSpMkLst>
            <pc:docMk/>
            <pc:sldMk cId="3135040927" sldId="285"/>
            <ac:grpSpMk id="2" creationId="{8230BD16-ACF9-09FF-BAE3-926A7521A1C1}"/>
          </ac:grpSpMkLst>
        </pc:grpChg>
        <pc:grpChg chg="del">
          <ac:chgData name="Lara Cruz" userId="b0f71b28-16e3-44a7-b9d4-cbd6d38f3b0b" providerId="ADAL" clId="{B101B667-BF26-431E-9872-DE58BF1D877B}" dt="2023-05-25T12:47:48.339" v="674" actId="478"/>
          <ac:grpSpMkLst>
            <pc:docMk/>
            <pc:sldMk cId="3135040927" sldId="285"/>
            <ac:grpSpMk id="31" creationId="{29004C4E-DEEE-71EF-9C37-8BFA79D716A1}"/>
          </ac:grpSpMkLst>
        </pc:grp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3" creationId="{E2C669CC-9CA4-4D96-E822-F31862BD30D7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5" creationId="{E19CA725-4B7D-BC38-A034-DF3EFDF1026E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7" creationId="{6D023EEB-E0BF-88DB-E446-3AAE462078E1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8" creationId="{849233D6-9526-D2D5-D021-ED68ED43C082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9" creationId="{EEC51D2A-C425-3FDE-134F-DFD8608976A5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0" creationId="{C45A0273-8C09-DE36-E59F-B293CE2160BD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1" creationId="{1971995F-5FC1-6D04-22BF-EAA03D5E9CDF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3" creationId="{EE934E5E-3012-E19F-3432-838060226E40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4" creationId="{0E7F27C0-BCF2-73ED-A5F3-D663F9D2A578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7" creationId="{A8322452-CA2C-C9AB-18BF-8E9FB5B795E4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8" creationId="{3BE41B01-8BCC-F7CF-0E13-64A8C0D38716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9" creationId="{799D144E-4C76-FB74-C4AE-99AAB2C02431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20" creationId="{13D3DF60-56D8-E772-A912-BD7E0F87BB5F}"/>
          </ac:picMkLst>
        </pc:picChg>
        <pc:picChg chg="add del mod ord">
          <ac:chgData name="Lara Cruz" userId="b0f71b28-16e3-44a7-b9d4-cbd6d38f3b0b" providerId="ADAL" clId="{B101B667-BF26-431E-9872-DE58BF1D877B}" dt="2023-06-08T13:41:04.688" v="1019"/>
          <ac:picMkLst>
            <pc:docMk/>
            <pc:sldMk cId="3135040927" sldId="285"/>
            <ac:picMk id="21" creationId="{2043C821-09AC-73B0-1DA6-7DD38FB51208}"/>
          </ac:picMkLst>
        </pc:picChg>
      </pc:sldChg>
      <pc:sldChg chg="addSp delSp modSp mod">
        <pc:chgData name="Lara Cruz" userId="b0f71b28-16e3-44a7-b9d4-cbd6d38f3b0b" providerId="ADAL" clId="{B101B667-BF26-431E-9872-DE58BF1D877B}" dt="2023-05-25T12:47:43.380" v="673"/>
        <pc:sldMkLst>
          <pc:docMk/>
          <pc:sldMk cId="120730173" sldId="286"/>
        </pc:sldMkLst>
        <pc:grpChg chg="add mod">
          <ac:chgData name="Lara Cruz" userId="b0f71b28-16e3-44a7-b9d4-cbd6d38f3b0b" providerId="ADAL" clId="{B101B667-BF26-431E-9872-DE58BF1D877B}" dt="2023-05-25T12:47:43.380" v="673"/>
          <ac:grpSpMkLst>
            <pc:docMk/>
            <pc:sldMk cId="120730173" sldId="286"/>
            <ac:grpSpMk id="2" creationId="{7696B9AE-BFD6-C990-A716-331A72D9E2EA}"/>
          </ac:grpSpMkLst>
        </pc:grpChg>
        <pc:grpChg chg="del">
          <ac:chgData name="Lara Cruz" userId="b0f71b28-16e3-44a7-b9d4-cbd6d38f3b0b" providerId="ADAL" clId="{B101B667-BF26-431E-9872-DE58BF1D877B}" dt="2023-05-25T12:47:42.907" v="672" actId="478"/>
          <ac:grpSpMkLst>
            <pc:docMk/>
            <pc:sldMk cId="120730173" sldId="286"/>
            <ac:grpSpMk id="16" creationId="{C5E9FC9A-4BB8-F7DE-D51B-FB1B2FA5B040}"/>
          </ac:grpSpMkLst>
        </pc:grp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3" creationId="{C7EF5681-5E16-6F46-5969-D7C0010C8F9E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4" creationId="{E951BAD0-A666-9428-9635-78AF81AE85C1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5" creationId="{05A363DC-7F65-78ED-897C-39946C44F15F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6" creationId="{9003EA3D-3856-B1F7-53C1-0A5AB36CE151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7" creationId="{42F14443-702E-5800-8EE7-2FB78A9A0459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8" creationId="{39CAD43C-BD91-E5DE-FCB3-774AAFE7F379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9" creationId="{5FABD569-C0F8-F19B-D7C3-933CA6D7ECEF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0" creationId="{59451C7A-7A58-DA91-AB82-B6152A041448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1" creationId="{69172AD0-7AA1-CDA4-5E34-542735736028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2" creationId="{99131594-1C4C-07DB-0AC1-FA5DB43FE0FA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3" creationId="{675FA16E-5517-3DC8-A7C1-CC0226C20544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4" creationId="{7BC42827-2244-69E5-8A4B-49393DDB482B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5" creationId="{47F51498-9BB0-60C2-B36D-E160B1474C12}"/>
          </ac:picMkLst>
        </pc:picChg>
      </pc:sldChg>
      <pc:sldChg chg="del">
        <pc:chgData name="Lara Cruz" userId="b0f71b28-16e3-44a7-b9d4-cbd6d38f3b0b" providerId="ADAL" clId="{B101B667-BF26-431E-9872-DE58BF1D877B}" dt="2023-04-28T09:03:29.470" v="73" actId="47"/>
        <pc:sldMkLst>
          <pc:docMk/>
          <pc:sldMk cId="1957505237" sldId="287"/>
        </pc:sldMkLst>
      </pc:sldChg>
      <pc:sldChg chg="addSp delSp modSp mod">
        <pc:chgData name="Lara Cruz" userId="b0f71b28-16e3-44a7-b9d4-cbd6d38f3b0b" providerId="ADAL" clId="{B101B667-BF26-431E-9872-DE58BF1D877B}" dt="2023-06-13T15:36:41.461" v="1592" actId="1076"/>
        <pc:sldMkLst>
          <pc:docMk/>
          <pc:sldMk cId="824739939" sldId="288"/>
        </pc:sldMkLst>
        <pc:spChg chg="mod">
          <ac:chgData name="Lara Cruz" userId="b0f71b28-16e3-44a7-b9d4-cbd6d38f3b0b" providerId="ADAL" clId="{B101B667-BF26-431E-9872-DE58BF1D877B}" dt="2023-05-17T15:49:59.170" v="547" actId="14826"/>
          <ac:spMkLst>
            <pc:docMk/>
            <pc:sldMk cId="824739939" sldId="288"/>
            <ac:spMk id="3" creationId="{71DA2796-63A2-45F2-BA29-24BA5E301F44}"/>
          </ac:spMkLst>
        </pc:spChg>
        <pc:spChg chg="del mod">
          <ac:chgData name="Lara Cruz" userId="b0f71b28-16e3-44a7-b9d4-cbd6d38f3b0b" providerId="ADAL" clId="{B101B667-BF26-431E-9872-DE58BF1D877B}" dt="2023-06-06T09:10:43.611" v="775" actId="478"/>
          <ac:spMkLst>
            <pc:docMk/>
            <pc:sldMk cId="824739939" sldId="288"/>
            <ac:spMk id="7" creationId="{BE608B91-E1F9-5202-1965-57A151528AC8}"/>
          </ac:spMkLst>
        </pc:spChg>
        <pc:spChg chg="mod">
          <ac:chgData name="Lara Cruz" userId="b0f71b28-16e3-44a7-b9d4-cbd6d38f3b0b" providerId="ADAL" clId="{B101B667-BF26-431E-9872-DE58BF1D877B}" dt="2023-06-06T09:09:37.468" v="749" actId="14826"/>
          <ac:spMkLst>
            <pc:docMk/>
            <pc:sldMk cId="824739939" sldId="288"/>
            <ac:spMk id="8" creationId="{2E3DE34E-FD04-AF7B-A842-C650E29F40A6}"/>
          </ac:spMkLst>
        </pc:spChg>
        <pc:spChg chg="mod">
          <ac:chgData name="Lara Cruz" userId="b0f71b28-16e3-44a7-b9d4-cbd6d38f3b0b" providerId="ADAL" clId="{B101B667-BF26-431E-9872-DE58BF1D877B}" dt="2023-06-06T09:09:37.468" v="749" actId="14826"/>
          <ac:spMkLst>
            <pc:docMk/>
            <pc:sldMk cId="824739939" sldId="288"/>
            <ac:spMk id="9" creationId="{81FA5E2C-FCE8-0D1D-665E-94C10CBAFC76}"/>
          </ac:spMkLst>
        </pc:spChg>
        <pc:spChg chg="del mod topLvl">
          <ac:chgData name="Lara Cruz" userId="b0f71b28-16e3-44a7-b9d4-cbd6d38f3b0b" providerId="ADAL" clId="{B101B667-BF26-431E-9872-DE58BF1D877B}" dt="2023-06-06T09:10:43.611" v="775" actId="478"/>
          <ac:spMkLst>
            <pc:docMk/>
            <pc:sldMk cId="824739939" sldId="288"/>
            <ac:spMk id="12" creationId="{E01AE70E-97E5-1343-D8F9-C314F1AB53B1}"/>
          </ac:spMkLst>
        </pc:spChg>
        <pc:spChg chg="mod">
          <ac:chgData name="Lara Cruz" userId="b0f71b28-16e3-44a7-b9d4-cbd6d38f3b0b" providerId="ADAL" clId="{B101B667-BF26-431E-9872-DE58BF1D877B}" dt="2023-06-06T09:10:38.537" v="774" actId="14826"/>
          <ac:spMkLst>
            <pc:docMk/>
            <pc:sldMk cId="824739939" sldId="288"/>
            <ac:spMk id="14" creationId="{216470CD-F661-AEF3-C1C9-97D75D763106}"/>
          </ac:spMkLst>
        </pc:spChg>
        <pc:spChg chg="mod">
          <ac:chgData name="Lara Cruz" userId="b0f71b28-16e3-44a7-b9d4-cbd6d38f3b0b" providerId="ADAL" clId="{B101B667-BF26-431E-9872-DE58BF1D877B}" dt="2023-06-06T09:10:38.537" v="774" actId="14826"/>
          <ac:spMkLst>
            <pc:docMk/>
            <pc:sldMk cId="824739939" sldId="288"/>
            <ac:spMk id="15" creationId="{904A0AD3-1A7A-13A4-D6DD-95F6C32949FA}"/>
          </ac:spMkLst>
        </pc:spChg>
        <pc:spChg chg="mod">
          <ac:chgData name="Lara Cruz" userId="b0f71b28-16e3-44a7-b9d4-cbd6d38f3b0b" providerId="ADAL" clId="{B101B667-BF26-431E-9872-DE58BF1D877B}" dt="2023-06-06T09:11:13.336" v="778" actId="1076"/>
          <ac:spMkLst>
            <pc:docMk/>
            <pc:sldMk cId="824739939" sldId="288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39:19.218" v="524" actId="1076"/>
          <ac:spMkLst>
            <pc:docMk/>
            <pc:sldMk cId="824739939" sldId="288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17.813" v="1575" actId="1076"/>
          <ac:spMkLst>
            <pc:docMk/>
            <pc:sldMk cId="824739939" sldId="288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09:11.796" v="745" actId="1076"/>
          <ac:spMkLst>
            <pc:docMk/>
            <pc:sldMk cId="824739939" sldId="288"/>
            <ac:spMk id="34" creationId="{724CFC56-AE5C-448B-9F72-F57F297529F4}"/>
          </ac:spMkLst>
        </pc:spChg>
        <pc:grpChg chg="del mod">
          <ac:chgData name="Lara Cruz" userId="b0f71b28-16e3-44a7-b9d4-cbd6d38f3b0b" providerId="ADAL" clId="{B101B667-BF26-431E-9872-DE58BF1D877B}" dt="2023-06-06T09:09:53.781" v="751" actId="478"/>
          <ac:grpSpMkLst>
            <pc:docMk/>
            <pc:sldMk cId="824739939" sldId="288"/>
            <ac:grpSpMk id="5" creationId="{36CF1129-B85E-9C0C-C8ED-3F2FBFCCA473}"/>
          </ac:grpSpMkLst>
        </pc:grpChg>
        <pc:grpChg chg="add mod">
          <ac:chgData name="Lara Cruz" userId="b0f71b28-16e3-44a7-b9d4-cbd6d38f3b0b" providerId="ADAL" clId="{B101B667-BF26-431E-9872-DE58BF1D877B}" dt="2023-06-13T15:36:41.461" v="1592" actId="1076"/>
          <ac:grpSpMkLst>
            <pc:docMk/>
            <pc:sldMk cId="824739939" sldId="288"/>
            <ac:grpSpMk id="6" creationId="{8D910B85-2BBA-B52F-CF20-03E3206B260D}"/>
          </ac:grpSpMkLst>
        </pc:grpChg>
        <pc:grpChg chg="add mod">
          <ac:chgData name="Lara Cruz" userId="b0f71b28-16e3-44a7-b9d4-cbd6d38f3b0b" providerId="ADAL" clId="{B101B667-BF26-431E-9872-DE58BF1D877B}" dt="2023-06-13T15:36:36.045" v="1591" actId="1076"/>
          <ac:grpSpMkLst>
            <pc:docMk/>
            <pc:sldMk cId="824739939" sldId="288"/>
            <ac:grpSpMk id="13" creationId="{A27830FD-0708-39BE-989E-AC6222ACFA72}"/>
          </ac:grpSpMkLst>
        </pc:grpChg>
        <pc:grpChg chg="del mod">
          <ac:chgData name="Lara Cruz" userId="b0f71b28-16e3-44a7-b9d4-cbd6d38f3b0b" providerId="ADAL" clId="{B101B667-BF26-431E-9872-DE58BF1D877B}" dt="2023-06-06T09:04:54.121" v="724" actId="478"/>
          <ac:grpSpMkLst>
            <pc:docMk/>
            <pc:sldMk cId="824739939" sldId="288"/>
            <ac:grpSpMk id="16" creationId="{ED012F06-FF46-2696-EDD2-1B69DC496622}"/>
          </ac:grpSpMkLst>
        </pc:grpChg>
        <pc:picChg chg="add del mod">
          <ac:chgData name="Lara Cruz" userId="b0f71b28-16e3-44a7-b9d4-cbd6d38f3b0b" providerId="ADAL" clId="{B101B667-BF26-431E-9872-DE58BF1D877B}" dt="2023-06-06T09:10:43.611" v="775" actId="478"/>
          <ac:picMkLst>
            <pc:docMk/>
            <pc:sldMk cId="824739939" sldId="288"/>
            <ac:picMk id="2" creationId="{8331F8CA-750F-EFCC-89AD-12F42991CB37}"/>
          </ac:picMkLst>
        </pc:picChg>
        <pc:picChg chg="mod">
          <ac:chgData name="Lara Cruz" userId="b0f71b28-16e3-44a7-b9d4-cbd6d38f3b0b" providerId="ADAL" clId="{B101B667-BF26-431E-9872-DE58BF1D877B}" dt="2023-06-06T09:09:47.760" v="750" actId="688"/>
          <ac:picMkLst>
            <pc:docMk/>
            <pc:sldMk cId="824739939" sldId="288"/>
            <ac:picMk id="10" creationId="{168EF2D5-0B86-F8CC-E585-802A2E4CA0F9}"/>
          </ac:picMkLst>
        </pc:picChg>
        <pc:picChg chg="del mod topLvl">
          <ac:chgData name="Lara Cruz" userId="b0f71b28-16e3-44a7-b9d4-cbd6d38f3b0b" providerId="ADAL" clId="{B101B667-BF26-431E-9872-DE58BF1D877B}" dt="2023-06-06T09:04:54.121" v="724" actId="478"/>
          <ac:picMkLst>
            <pc:docMk/>
            <pc:sldMk cId="824739939" sldId="288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4-28T09:10:00.176" v="146" actId="14826"/>
          <ac:picMkLst>
            <pc:docMk/>
            <pc:sldMk cId="824739939" sldId="288"/>
            <ac:picMk id="15" creationId="{1823DEA9-DC2E-2912-368A-2770542CBF6F}"/>
          </ac:picMkLst>
        </pc:picChg>
        <pc:picChg chg="mod">
          <ac:chgData name="Lara Cruz" userId="b0f71b28-16e3-44a7-b9d4-cbd6d38f3b0b" providerId="ADAL" clId="{B101B667-BF26-431E-9872-DE58BF1D877B}" dt="2023-06-06T09:10:38.537" v="774" actId="14826"/>
          <ac:picMkLst>
            <pc:docMk/>
            <pc:sldMk cId="824739939" sldId="288"/>
            <ac:picMk id="18" creationId="{D9E11E2D-C3DC-5758-AB54-71B66890D6C1}"/>
          </ac:picMkLst>
        </pc:picChg>
        <pc:picChg chg="mod modCrop">
          <ac:chgData name="Lara Cruz" userId="b0f71b28-16e3-44a7-b9d4-cbd6d38f3b0b" providerId="ADAL" clId="{B101B667-BF26-431E-9872-DE58BF1D877B}" dt="2023-05-17T15:50:19.733" v="550" actId="18131"/>
          <ac:picMkLst>
            <pc:docMk/>
            <pc:sldMk cId="824739939" sldId="288"/>
            <ac:picMk id="39" creationId="{9394F1C0-2AA8-429C-A5AB-6D6E9A636301}"/>
          </ac:picMkLst>
        </pc:picChg>
        <pc:cxnChg chg="mod">
          <ac:chgData name="Lara Cruz" userId="b0f71b28-16e3-44a7-b9d4-cbd6d38f3b0b" providerId="ADAL" clId="{B101B667-BF26-431E-9872-DE58BF1D877B}" dt="2023-06-08T14:42:36.682" v="1570" actId="12788"/>
          <ac:cxnSpMkLst>
            <pc:docMk/>
            <pc:sldMk cId="824739939" sldId="288"/>
            <ac:cxnSpMk id="23" creationId="{EB2D47C8-B163-4B3B-BC37-222578A82313}"/>
          </ac:cxnSpMkLst>
        </pc:cxnChg>
      </pc:sldChg>
      <pc:sldChg chg="addSp delSp modSp add mod">
        <pc:chgData name="Lara Cruz" userId="b0f71b28-16e3-44a7-b9d4-cbd6d38f3b0b" providerId="ADAL" clId="{B101B667-BF26-431E-9872-DE58BF1D877B}" dt="2023-06-08T14:54:29.470" v="1580" actId="20577"/>
        <pc:sldMkLst>
          <pc:docMk/>
          <pc:sldMk cId="2385738458" sldId="289"/>
        </pc:sldMkLst>
        <pc:spChg chg="mod">
          <ac:chgData name="Lara Cruz" userId="b0f71b28-16e3-44a7-b9d4-cbd6d38f3b0b" providerId="ADAL" clId="{B101B667-BF26-431E-9872-DE58BF1D877B}" dt="2023-05-17T15:51:50.805" v="629" actId="14826"/>
          <ac:spMkLst>
            <pc:docMk/>
            <pc:sldMk cId="2385738458" sldId="289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6-06T09:12:04.733" v="812" actId="14826"/>
          <ac:spMkLst>
            <pc:docMk/>
            <pc:sldMk cId="2385738458" sldId="289"/>
            <ac:spMk id="6" creationId="{1F7E9F6C-9EBE-72DF-9DE1-A1A9A9038BB3}"/>
          </ac:spMkLst>
        </pc:spChg>
        <pc:spChg chg="mod">
          <ac:chgData name="Lara Cruz" userId="b0f71b28-16e3-44a7-b9d4-cbd6d38f3b0b" providerId="ADAL" clId="{B101B667-BF26-431E-9872-DE58BF1D877B}" dt="2023-06-08T14:41:52.404" v="1563" actId="14100"/>
          <ac:spMkLst>
            <pc:docMk/>
            <pc:sldMk cId="2385738458" sldId="289"/>
            <ac:spMk id="7" creationId="{F4D43090-EF5E-6760-16E5-2D1A1EB4B14B}"/>
          </ac:spMkLst>
        </pc:spChg>
        <pc:spChg chg="mod topLvl">
          <ac:chgData name="Lara Cruz" userId="b0f71b28-16e3-44a7-b9d4-cbd6d38f3b0b" providerId="ADAL" clId="{B101B667-BF26-431E-9872-DE58BF1D877B}" dt="2023-06-08T14:42:06.242" v="1566" actId="1076"/>
          <ac:spMkLst>
            <pc:docMk/>
            <pc:sldMk cId="2385738458" sldId="289"/>
            <ac:spMk id="14" creationId="{27C6D366-ED4D-AF91-E26B-37FF441F8BB2}"/>
          </ac:spMkLst>
        </pc:spChg>
        <pc:spChg chg="mod">
          <ac:chgData name="Lara Cruz" userId="b0f71b28-16e3-44a7-b9d4-cbd6d38f3b0b" providerId="ADAL" clId="{B101B667-BF26-431E-9872-DE58BF1D877B}" dt="2023-06-08T14:42:09.091" v="1567" actId="20577"/>
          <ac:spMkLst>
            <pc:docMk/>
            <pc:sldMk cId="2385738458" sldId="289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39:49.232" v="528" actId="1076"/>
          <ac:spMkLst>
            <pc:docMk/>
            <pc:sldMk cId="2385738458" sldId="289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29.470" v="1580" actId="20577"/>
          <ac:spMkLst>
            <pc:docMk/>
            <pc:sldMk cId="2385738458" sldId="289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5-17T15:53:26.107" v="671" actId="20577"/>
          <ac:spMkLst>
            <pc:docMk/>
            <pc:sldMk cId="2385738458" sldId="289"/>
            <ac:spMk id="34" creationId="{724CFC56-AE5C-448B-9F72-F57F297529F4}"/>
          </ac:spMkLst>
        </pc:spChg>
        <pc:grpChg chg="add mod">
          <ac:chgData name="Lara Cruz" userId="b0f71b28-16e3-44a7-b9d4-cbd6d38f3b0b" providerId="ADAL" clId="{B101B667-BF26-431E-9872-DE58BF1D877B}" dt="2023-06-08T14:41:58.075" v="1564" actId="1076"/>
          <ac:grpSpMkLst>
            <pc:docMk/>
            <pc:sldMk cId="2385738458" sldId="289"/>
            <ac:grpSpMk id="2" creationId="{DAF01CB8-A003-F5C8-08B8-65AAF74B58BE}"/>
          </ac:grpSpMkLst>
        </pc:grpChg>
        <pc:grpChg chg="del mod">
          <ac:chgData name="Lara Cruz" userId="b0f71b28-16e3-44a7-b9d4-cbd6d38f3b0b" providerId="ADAL" clId="{B101B667-BF26-431E-9872-DE58BF1D877B}" dt="2023-06-06T09:12:22.363" v="814" actId="478"/>
          <ac:grpSpMkLst>
            <pc:docMk/>
            <pc:sldMk cId="2385738458" sldId="289"/>
            <ac:grpSpMk id="5" creationId="{36CF1129-B85E-9C0C-C8ED-3F2FBFCCA473}"/>
          </ac:grpSpMkLst>
        </pc:grpChg>
        <pc:grpChg chg="add del mod">
          <ac:chgData name="Lara Cruz" userId="b0f71b28-16e3-44a7-b9d4-cbd6d38f3b0b" providerId="ADAL" clId="{B101B667-BF26-431E-9872-DE58BF1D877B}" dt="2023-06-08T14:40:40.342" v="1550" actId="478"/>
          <ac:grpSpMkLst>
            <pc:docMk/>
            <pc:sldMk cId="2385738458" sldId="289"/>
            <ac:grpSpMk id="9" creationId="{A48F1871-6EA4-1F80-1252-ED0C7B276273}"/>
          </ac:grpSpMkLst>
        </pc:grpChg>
        <pc:grpChg chg="del">
          <ac:chgData name="Lara Cruz" userId="b0f71b28-16e3-44a7-b9d4-cbd6d38f3b0b" providerId="ADAL" clId="{B101B667-BF26-431E-9872-DE58BF1D877B}" dt="2023-06-06T09:12:37.976" v="815" actId="478"/>
          <ac:grpSpMkLst>
            <pc:docMk/>
            <pc:sldMk cId="2385738458" sldId="289"/>
            <ac:grpSpMk id="16" creationId="{ED012F06-FF46-2696-EDD2-1B69DC496622}"/>
          </ac:grpSpMkLst>
        </pc:grpChg>
        <pc:grpChg chg="add mod">
          <ac:chgData name="Lara Cruz" userId="b0f71b28-16e3-44a7-b9d4-cbd6d38f3b0b" providerId="ADAL" clId="{B101B667-BF26-431E-9872-DE58BF1D877B}" dt="2023-06-08T14:41:35.361" v="1559" actId="1076"/>
          <ac:grpSpMkLst>
            <pc:docMk/>
            <pc:sldMk cId="2385738458" sldId="289"/>
            <ac:grpSpMk id="24" creationId="{C3EFA7C1-3B39-D988-3734-9F87319161F9}"/>
          </ac:grpSpMkLst>
        </pc:grpChg>
        <pc:picChg chg="mod modCrop">
          <ac:chgData name="Lara Cruz" userId="b0f71b28-16e3-44a7-b9d4-cbd6d38f3b0b" providerId="ADAL" clId="{B101B667-BF26-431E-9872-DE58BF1D877B}" dt="2023-06-08T14:41:47.652" v="1562" actId="14100"/>
          <ac:picMkLst>
            <pc:docMk/>
            <pc:sldMk cId="2385738458" sldId="289"/>
            <ac:picMk id="8" creationId="{523D0ABE-A57F-E9A8-A3DB-28B0837FE619}"/>
          </ac:picMkLst>
        </pc:picChg>
        <pc:picChg chg="del mod topLvl">
          <ac:chgData name="Lara Cruz" userId="b0f71b28-16e3-44a7-b9d4-cbd6d38f3b0b" providerId="ADAL" clId="{B101B667-BF26-431E-9872-DE58BF1D877B}" dt="2023-06-08T14:40:40.342" v="1550" actId="478"/>
          <ac:picMkLst>
            <pc:docMk/>
            <pc:sldMk cId="2385738458" sldId="289"/>
            <ac:picMk id="10" creationId="{5653CF79-B129-0E22-45FA-F4CC8B2C6137}"/>
          </ac:picMkLst>
        </pc:picChg>
        <pc:picChg chg="del mod">
          <ac:chgData name="Lara Cruz" userId="b0f71b28-16e3-44a7-b9d4-cbd6d38f3b0b" providerId="ADAL" clId="{B101B667-BF26-431E-9872-DE58BF1D877B}" dt="2023-06-06T09:26:15.294" v="963" actId="478"/>
          <ac:picMkLst>
            <pc:docMk/>
            <pc:sldMk cId="2385738458" sldId="289"/>
            <ac:picMk id="13" creationId="{C940B3C6-07D9-24CC-CF64-F711E0B7A9F6}"/>
          </ac:picMkLst>
        </pc:picChg>
        <pc:picChg chg="add mod">
          <ac:chgData name="Lara Cruz" userId="b0f71b28-16e3-44a7-b9d4-cbd6d38f3b0b" providerId="ADAL" clId="{B101B667-BF26-431E-9872-DE58BF1D877B}" dt="2023-06-06T09:26:24.917" v="966" actId="1076"/>
          <ac:picMkLst>
            <pc:docMk/>
            <pc:sldMk cId="2385738458" sldId="289"/>
            <ac:picMk id="21" creationId="{2CA6E5B4-7833-4D21-9F5C-782BCC71B59B}"/>
          </ac:picMkLst>
        </pc:picChg>
        <pc:picChg chg="del">
          <ac:chgData name="Lara Cruz" userId="b0f71b28-16e3-44a7-b9d4-cbd6d38f3b0b" providerId="ADAL" clId="{B101B667-BF26-431E-9872-DE58BF1D877B}" dt="2023-06-08T14:40:36.249" v="1548" actId="478"/>
          <ac:picMkLst>
            <pc:docMk/>
            <pc:sldMk cId="2385738458" sldId="289"/>
            <ac:picMk id="22" creationId="{12E3D079-A3AE-8B95-98B8-21F98E300BF1}"/>
          </ac:picMkLst>
        </pc:picChg>
        <pc:picChg chg="mod">
          <ac:chgData name="Lara Cruz" userId="b0f71b28-16e3-44a7-b9d4-cbd6d38f3b0b" providerId="ADAL" clId="{B101B667-BF26-431E-9872-DE58BF1D877B}" dt="2023-06-08T14:41:29.588" v="1557" actId="14100"/>
          <ac:picMkLst>
            <pc:docMk/>
            <pc:sldMk cId="2385738458" sldId="289"/>
            <ac:picMk id="26" creationId="{A6C07380-2564-A8F8-AF9D-1D7137AC05B8}"/>
          </ac:picMkLst>
        </pc:picChg>
        <pc:picChg chg="mod">
          <ac:chgData name="Lara Cruz" userId="b0f71b28-16e3-44a7-b9d4-cbd6d38f3b0b" providerId="ADAL" clId="{B101B667-BF26-431E-9872-DE58BF1D877B}" dt="2023-06-08T14:42:18.801" v="1568" actId="1076"/>
          <ac:picMkLst>
            <pc:docMk/>
            <pc:sldMk cId="2385738458" sldId="289"/>
            <ac:picMk id="27" creationId="{3AC1A213-5A95-FAB9-1C6E-8BDCA0C49EEA}"/>
          </ac:picMkLst>
        </pc:picChg>
        <pc:picChg chg="mod modCrop">
          <ac:chgData name="Lara Cruz" userId="b0f71b28-16e3-44a7-b9d4-cbd6d38f3b0b" providerId="ADAL" clId="{B101B667-BF26-431E-9872-DE58BF1D877B}" dt="2023-05-17T15:51:59.735" v="630" actId="18131"/>
          <ac:picMkLst>
            <pc:docMk/>
            <pc:sldMk cId="2385738458" sldId="289"/>
            <ac:picMk id="39" creationId="{9394F1C0-2AA8-429C-A5AB-6D6E9A636301}"/>
          </ac:picMkLst>
        </pc:picChg>
      </pc:sldChg>
      <pc:sldChg chg="addSp delSp modSp add mod">
        <pc:chgData name="Lara Cruz" userId="b0f71b28-16e3-44a7-b9d4-cbd6d38f3b0b" providerId="ADAL" clId="{B101B667-BF26-431E-9872-DE58BF1D877B}" dt="2023-06-08T14:54:42.469" v="1586" actId="20577"/>
        <pc:sldMkLst>
          <pc:docMk/>
          <pc:sldMk cId="2869463670" sldId="290"/>
        </pc:sldMkLst>
        <pc:spChg chg="del mod">
          <ac:chgData name="Lara Cruz" userId="b0f71b28-16e3-44a7-b9d4-cbd6d38f3b0b" providerId="ADAL" clId="{B101B667-BF26-431E-9872-DE58BF1D877B}" dt="2023-06-06T09:14:34.899" v="870" actId="478"/>
          <ac:spMkLst>
            <pc:docMk/>
            <pc:sldMk cId="2869463670" sldId="290"/>
            <ac:spMk id="3" creationId="{71DA2796-63A2-45F2-BA29-24BA5E301F44}"/>
          </ac:spMkLst>
        </pc:spChg>
        <pc:spChg chg="del mod">
          <ac:chgData name="Lara Cruz" userId="b0f71b28-16e3-44a7-b9d4-cbd6d38f3b0b" providerId="ADAL" clId="{B101B667-BF26-431E-9872-DE58BF1D877B}" dt="2023-06-06T09:14:40.761" v="874" actId="478"/>
          <ac:spMkLst>
            <pc:docMk/>
            <pc:sldMk cId="2869463670" sldId="290"/>
            <ac:spMk id="5" creationId="{F50C5E2F-269F-FF9D-9472-0CCB24417204}"/>
          </ac:spMkLst>
        </pc:spChg>
        <pc:spChg chg="mod">
          <ac:chgData name="Lara Cruz" userId="b0f71b28-16e3-44a7-b9d4-cbd6d38f3b0b" providerId="ADAL" clId="{B101B667-BF26-431E-9872-DE58BF1D877B}" dt="2023-06-06T09:15:33.103" v="885" actId="14100"/>
          <ac:spMkLst>
            <pc:docMk/>
            <pc:sldMk cId="2869463670" sldId="290"/>
            <ac:spMk id="6" creationId="{F7FBE0CB-3604-77AB-EA8B-AC77429D19A9}"/>
          </ac:spMkLst>
        </pc:spChg>
        <pc:spChg chg="mod">
          <ac:chgData name="Lara Cruz" userId="b0f71b28-16e3-44a7-b9d4-cbd6d38f3b0b" providerId="ADAL" clId="{B101B667-BF26-431E-9872-DE58BF1D877B}" dt="2023-06-06T09:19:32.984" v="898" actId="1076"/>
          <ac:spMkLst>
            <pc:docMk/>
            <pc:sldMk cId="2869463670" sldId="290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40:13.625" v="533" actId="1076"/>
          <ac:spMkLst>
            <pc:docMk/>
            <pc:sldMk cId="2869463670" sldId="290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42.469" v="1586" actId="20577"/>
          <ac:spMkLst>
            <pc:docMk/>
            <pc:sldMk cId="2869463670" sldId="290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19:35.146" v="899" actId="1076"/>
          <ac:spMkLst>
            <pc:docMk/>
            <pc:sldMk cId="2869463670" sldId="290"/>
            <ac:spMk id="34" creationId="{724CFC56-AE5C-448B-9F72-F57F297529F4}"/>
          </ac:spMkLst>
        </pc:spChg>
        <pc:grpChg chg="add mod">
          <ac:chgData name="Lara Cruz" userId="b0f71b28-16e3-44a7-b9d4-cbd6d38f3b0b" providerId="ADAL" clId="{B101B667-BF26-431E-9872-DE58BF1D877B}" dt="2023-06-06T09:16:51.322" v="894" actId="1076"/>
          <ac:grpSpMkLst>
            <pc:docMk/>
            <pc:sldMk cId="2869463670" sldId="290"/>
            <ac:grpSpMk id="2" creationId="{15EBB19C-1B0E-907B-2647-2686565B299C}"/>
          </ac:grpSpMkLst>
        </pc:grpChg>
        <pc:grpChg chg="mod">
          <ac:chgData name="Lara Cruz" userId="b0f71b28-16e3-44a7-b9d4-cbd6d38f3b0b" providerId="ADAL" clId="{B101B667-BF26-431E-9872-DE58BF1D877B}" dt="2023-05-02T14:34:30.861" v="545" actId="14826"/>
          <ac:grpSpMkLst>
            <pc:docMk/>
            <pc:sldMk cId="2869463670" sldId="290"/>
            <ac:grpSpMk id="5" creationId="{36CF1129-B85E-9C0C-C8ED-3F2FBFCCA473}"/>
          </ac:grpSpMkLst>
        </pc:grpChg>
        <pc:picChg chg="mod">
          <ac:chgData name="Lara Cruz" userId="b0f71b28-16e3-44a7-b9d4-cbd6d38f3b0b" providerId="ADAL" clId="{B101B667-BF26-431E-9872-DE58BF1D877B}" dt="2023-06-06T09:15:40.994" v="887" actId="1076"/>
          <ac:picMkLst>
            <pc:docMk/>
            <pc:sldMk cId="2869463670" sldId="290"/>
            <ac:picMk id="7" creationId="{E2313128-1037-5479-D617-B3E90F40577E}"/>
          </ac:picMkLst>
        </pc:picChg>
        <pc:picChg chg="del mod">
          <ac:chgData name="Lara Cruz" userId="b0f71b28-16e3-44a7-b9d4-cbd6d38f3b0b" providerId="ADAL" clId="{B101B667-BF26-431E-9872-DE58BF1D877B}" dt="2023-06-06T09:14:34.899" v="870" actId="478"/>
          <ac:picMkLst>
            <pc:docMk/>
            <pc:sldMk cId="2869463670" sldId="290"/>
            <ac:picMk id="39" creationId="{9394F1C0-2AA8-429C-A5AB-6D6E9A636301}"/>
          </ac:picMkLst>
        </pc:picChg>
      </pc:sldChg>
      <pc:sldChg chg="modSp add del mod">
        <pc:chgData name="Lara Cruz" userId="b0f71b28-16e3-44a7-b9d4-cbd6d38f3b0b" providerId="ADAL" clId="{B101B667-BF26-431E-9872-DE58BF1D877B}" dt="2023-04-28T09:11:46.522" v="278" actId="47"/>
        <pc:sldMkLst>
          <pc:docMk/>
          <pc:sldMk cId="4247622726" sldId="290"/>
        </pc:sldMkLst>
        <pc:spChg chg="mod">
          <ac:chgData name="Lara Cruz" userId="b0f71b28-16e3-44a7-b9d4-cbd6d38f3b0b" providerId="ADAL" clId="{B101B667-BF26-431E-9872-DE58BF1D877B}" dt="2023-04-28T09:11:37.123" v="275" actId="14826"/>
          <ac:spMkLst>
            <pc:docMk/>
            <pc:sldMk cId="4247622726" sldId="290"/>
            <ac:spMk id="12" creationId="{E01AE70E-97E5-1343-D8F9-C314F1AB53B1}"/>
          </ac:spMkLst>
        </pc:spChg>
        <pc:spChg chg="mod">
          <ac:chgData name="Lara Cruz" userId="b0f71b28-16e3-44a7-b9d4-cbd6d38f3b0b" providerId="ADAL" clId="{B101B667-BF26-431E-9872-DE58BF1D877B}" dt="2023-04-28T09:11:38.759" v="277" actId="20577"/>
          <ac:spMkLst>
            <pc:docMk/>
            <pc:sldMk cId="4247622726" sldId="290"/>
            <ac:spMk id="20" creationId="{01A05EAE-9924-A096-762A-25AD3271E03A}"/>
          </ac:spMkLst>
        </pc:spChg>
        <pc:grpChg chg="mod">
          <ac:chgData name="Lara Cruz" userId="b0f71b28-16e3-44a7-b9d4-cbd6d38f3b0b" providerId="ADAL" clId="{B101B667-BF26-431E-9872-DE58BF1D877B}" dt="2023-04-28T09:11:37.123" v="275" actId="14826"/>
          <ac:grpSpMkLst>
            <pc:docMk/>
            <pc:sldMk cId="4247622726" sldId="290"/>
            <ac:grpSpMk id="16" creationId="{ED012F06-FF46-2696-EDD2-1B69DC496622}"/>
          </ac:grpSpMkLst>
        </pc:grpChg>
        <pc:picChg chg="mod">
          <ac:chgData name="Lara Cruz" userId="b0f71b28-16e3-44a7-b9d4-cbd6d38f3b0b" providerId="ADAL" clId="{B101B667-BF26-431E-9872-DE58BF1D877B}" dt="2023-04-28T09:11:37.123" v="275" actId="14826"/>
          <ac:picMkLst>
            <pc:docMk/>
            <pc:sldMk cId="4247622726" sldId="290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4-28T09:11:37.123" v="275" actId="14826"/>
          <ac:picMkLst>
            <pc:docMk/>
            <pc:sldMk cId="4247622726" sldId="290"/>
            <ac:picMk id="15" creationId="{1823DEA9-DC2E-2912-368A-2770542CBF6F}"/>
          </ac:picMkLst>
        </pc:picChg>
      </pc:sldChg>
      <pc:sldChg chg="modSp add del mod">
        <pc:chgData name="Lara Cruz" userId="b0f71b28-16e3-44a7-b9d4-cbd6d38f3b0b" providerId="ADAL" clId="{B101B667-BF26-431E-9872-DE58BF1D877B}" dt="2023-06-06T09:25:55.617" v="961" actId="47"/>
        <pc:sldMkLst>
          <pc:docMk/>
          <pc:sldMk cId="1890534255" sldId="291"/>
        </pc:sldMkLst>
        <pc:spChg chg="mod">
          <ac:chgData name="Lara Cruz" userId="b0f71b28-16e3-44a7-b9d4-cbd6d38f3b0b" providerId="ADAL" clId="{B101B667-BF26-431E-9872-DE58BF1D877B}" dt="2023-05-10T13:58:10.293" v="546" actId="14826"/>
          <ac:spMkLst>
            <pc:docMk/>
            <pc:sldMk cId="1890534255" sldId="291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5-02T13:40:53.833" v="544" actId="1076"/>
          <ac:spMkLst>
            <pc:docMk/>
            <pc:sldMk cId="1890534255" sldId="291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4-28T09:21:44.643" v="461" actId="1076"/>
          <ac:spMkLst>
            <pc:docMk/>
            <pc:sldMk cId="1890534255" sldId="291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5-10T13:58:10.293" v="546" actId="14826"/>
          <ac:spMkLst>
            <pc:docMk/>
            <pc:sldMk cId="1890534255" sldId="291"/>
            <ac:spMk id="34" creationId="{724CFC56-AE5C-448B-9F72-F57F297529F4}"/>
          </ac:spMkLst>
        </pc:spChg>
        <pc:grpChg chg="mod">
          <ac:chgData name="Lara Cruz" userId="b0f71b28-16e3-44a7-b9d4-cbd6d38f3b0b" providerId="ADAL" clId="{B101B667-BF26-431E-9872-DE58BF1D877B}" dt="2023-05-10T13:58:10.293" v="546" actId="14826"/>
          <ac:grpSpMkLst>
            <pc:docMk/>
            <pc:sldMk cId="1890534255" sldId="291"/>
            <ac:grpSpMk id="5" creationId="{36CF1129-B85E-9C0C-C8ED-3F2FBFCCA473}"/>
          </ac:grpSpMkLst>
        </pc:grpChg>
        <pc:picChg chg="mod">
          <ac:chgData name="Lara Cruz" userId="b0f71b28-16e3-44a7-b9d4-cbd6d38f3b0b" providerId="ADAL" clId="{B101B667-BF26-431E-9872-DE58BF1D877B}" dt="2023-05-10T13:58:10.293" v="546" actId="14826"/>
          <ac:picMkLst>
            <pc:docMk/>
            <pc:sldMk cId="1890534255" sldId="291"/>
            <ac:picMk id="39" creationId="{9394F1C0-2AA8-429C-A5AB-6D6E9A636301}"/>
          </ac:picMkLst>
        </pc:picChg>
      </pc:sldChg>
      <pc:sldChg chg="new del">
        <pc:chgData name="Lara Cruz" userId="b0f71b28-16e3-44a7-b9d4-cbd6d38f3b0b" providerId="ADAL" clId="{B101B667-BF26-431E-9872-DE58BF1D877B}" dt="2023-05-17T15:51:01.094" v="587" actId="680"/>
        <pc:sldMkLst>
          <pc:docMk/>
          <pc:sldMk cId="2036753279" sldId="292"/>
        </pc:sldMkLst>
      </pc:sldChg>
      <pc:sldChg chg="modSp mod">
        <pc:chgData name="Lara Cruz" userId="b0f71b28-16e3-44a7-b9d4-cbd6d38f3b0b" providerId="ADAL" clId="{B101B667-BF26-431E-9872-DE58BF1D877B}" dt="2023-06-08T14:54:34.050" v="1583" actId="20577"/>
        <pc:sldMkLst>
          <pc:docMk/>
          <pc:sldMk cId="60931730" sldId="294"/>
        </pc:sldMkLst>
        <pc:spChg chg="mod">
          <ac:chgData name="Lara Cruz" userId="b0f71b28-16e3-44a7-b9d4-cbd6d38f3b0b" providerId="ADAL" clId="{B101B667-BF26-431E-9872-DE58BF1D877B}" dt="2023-06-08T14:54:34.050" v="1583" actId="20577"/>
          <ac:spMkLst>
            <pc:docMk/>
            <pc:sldMk cId="60931730" sldId="294"/>
            <ac:spMk id="25" creationId="{DB19D8FE-B649-8745-B5DA-03209BD04D6F}"/>
          </ac:spMkLst>
        </pc:spChg>
      </pc:sldChg>
      <pc:sldChg chg="modSp mod">
        <pc:chgData name="Lara Cruz" userId="b0f71b28-16e3-44a7-b9d4-cbd6d38f3b0b" providerId="ADAL" clId="{B101B667-BF26-431E-9872-DE58BF1D877B}" dt="2023-06-08T14:54:24.513" v="1578" actId="20577"/>
        <pc:sldMkLst>
          <pc:docMk/>
          <pc:sldMk cId="515512297" sldId="296"/>
        </pc:sldMkLst>
        <pc:spChg chg="mod">
          <ac:chgData name="Lara Cruz" userId="b0f71b28-16e3-44a7-b9d4-cbd6d38f3b0b" providerId="ADAL" clId="{B101B667-BF26-431E-9872-DE58BF1D877B}" dt="2023-06-08T14:54:24.513" v="1578" actId="20577"/>
          <ac:spMkLst>
            <pc:docMk/>
            <pc:sldMk cId="515512297" sldId="296"/>
            <ac:spMk id="25" creationId="{DB19D8FE-B649-8745-B5DA-03209BD04D6F}"/>
          </ac:spMkLst>
        </pc:spChg>
      </pc:sldChg>
      <pc:sldChg chg="addSp delSp modSp add mod">
        <pc:chgData name="Lara Cruz" userId="b0f71b28-16e3-44a7-b9d4-cbd6d38f3b0b" providerId="ADAL" clId="{B101B667-BF26-431E-9872-DE58BF1D877B}" dt="2023-06-13T15:38:31.879" v="1602" actId="1076"/>
        <pc:sldMkLst>
          <pc:docMk/>
          <pc:sldMk cId="3955236344" sldId="298"/>
        </pc:sldMkLst>
        <pc:spChg chg="del topLvl">
          <ac:chgData name="Lara Cruz" userId="b0f71b28-16e3-44a7-b9d4-cbd6d38f3b0b" providerId="ADAL" clId="{B101B667-BF26-431E-9872-DE58BF1D877B}" dt="2023-06-06T09:20:48.183" v="901" actId="478"/>
          <ac:spMkLst>
            <pc:docMk/>
            <pc:sldMk cId="3955236344" sldId="298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6-06T09:21:38.702" v="914" actId="14826"/>
          <ac:spMkLst>
            <pc:docMk/>
            <pc:sldMk cId="3955236344" sldId="298"/>
            <ac:spMk id="9" creationId="{095C47EA-BCB2-339A-25EC-5F8F82E86A5D}"/>
          </ac:spMkLst>
        </pc:spChg>
        <pc:spChg chg="topLvl">
          <ac:chgData name="Lara Cruz" userId="b0f71b28-16e3-44a7-b9d4-cbd6d38f3b0b" providerId="ADAL" clId="{B101B667-BF26-431E-9872-DE58BF1D877B}" dt="2023-06-06T09:24:11.502" v="939" actId="478"/>
          <ac:spMkLst>
            <pc:docMk/>
            <pc:sldMk cId="3955236344" sldId="298"/>
            <ac:spMk id="12" creationId="{E01AE70E-97E5-1343-D8F9-C314F1AB53B1}"/>
          </ac:spMkLst>
        </pc:spChg>
        <pc:spChg chg="mod topLvl">
          <ac:chgData name="Lara Cruz" userId="b0f71b28-16e3-44a7-b9d4-cbd6d38f3b0b" providerId="ADAL" clId="{B101B667-BF26-431E-9872-DE58BF1D877B}" dt="2023-06-13T15:37:53.917" v="1596" actId="164"/>
          <ac:spMkLst>
            <pc:docMk/>
            <pc:sldMk cId="3955236344" sldId="298"/>
            <ac:spMk id="21" creationId="{498A9358-E0FA-4A7F-A25F-F2AD1EBF700B}"/>
          </ac:spMkLst>
        </pc:spChg>
        <pc:spChg chg="del mod">
          <ac:chgData name="Lara Cruz" userId="b0f71b28-16e3-44a7-b9d4-cbd6d38f3b0b" providerId="ADAL" clId="{B101B667-BF26-431E-9872-DE58BF1D877B}" dt="2023-06-06T09:21:00.652" v="905" actId="478"/>
          <ac:spMkLst>
            <pc:docMk/>
            <pc:sldMk cId="3955236344" sldId="298"/>
            <ac:spMk id="24" creationId="{5ADA31BF-5C75-1A0B-25C1-5FE5F890C873}"/>
          </ac:spMkLst>
        </pc:spChg>
        <pc:spChg chg="mod">
          <ac:chgData name="Lara Cruz" userId="b0f71b28-16e3-44a7-b9d4-cbd6d38f3b0b" providerId="ADAL" clId="{B101B667-BF26-431E-9872-DE58BF1D877B}" dt="2023-06-08T14:54:47.350" v="1589" actId="20577"/>
          <ac:spMkLst>
            <pc:docMk/>
            <pc:sldMk cId="3955236344" sldId="298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22:25.807" v="923" actId="14826"/>
          <ac:spMkLst>
            <pc:docMk/>
            <pc:sldMk cId="3955236344" sldId="298"/>
            <ac:spMk id="27" creationId="{AFCED0DB-2575-D5BF-B306-B182229914F7}"/>
          </ac:spMkLst>
        </pc:spChg>
        <pc:spChg chg="mod">
          <ac:chgData name="Lara Cruz" userId="b0f71b28-16e3-44a7-b9d4-cbd6d38f3b0b" providerId="ADAL" clId="{B101B667-BF26-431E-9872-DE58BF1D877B}" dt="2023-06-06T09:23:10.604" v="930" actId="14826"/>
          <ac:spMkLst>
            <pc:docMk/>
            <pc:sldMk cId="3955236344" sldId="298"/>
            <ac:spMk id="30" creationId="{626752F0-64FA-8343-4883-2E77B3208EC0}"/>
          </ac:spMkLst>
        </pc:spChg>
        <pc:spChg chg="add mod">
          <ac:chgData name="Lara Cruz" userId="b0f71b28-16e3-44a7-b9d4-cbd6d38f3b0b" providerId="ADAL" clId="{B101B667-BF26-431E-9872-DE58BF1D877B}" dt="2023-06-13T15:37:59.646" v="1597" actId="164"/>
          <ac:spMkLst>
            <pc:docMk/>
            <pc:sldMk cId="3955236344" sldId="298"/>
            <ac:spMk id="32" creationId="{B989C678-0161-DF6C-E71E-AAA408FD48C5}"/>
          </ac:spMkLst>
        </pc:spChg>
        <pc:spChg chg="mod topLvl">
          <ac:chgData name="Lara Cruz" userId="b0f71b28-16e3-44a7-b9d4-cbd6d38f3b0b" providerId="ADAL" clId="{B101B667-BF26-431E-9872-DE58BF1D877B}" dt="2023-06-13T15:37:46.924" v="1593" actId="164"/>
          <ac:spMkLst>
            <pc:docMk/>
            <pc:sldMk cId="3955236344" sldId="298"/>
            <ac:spMk id="34" creationId="{724CFC56-AE5C-448B-9F72-F57F297529F4}"/>
          </ac:spMkLst>
        </pc:spChg>
        <pc:spChg chg="del topLvl">
          <ac:chgData name="Lara Cruz" userId="b0f71b28-16e3-44a7-b9d4-cbd6d38f3b0b" providerId="ADAL" clId="{B101B667-BF26-431E-9872-DE58BF1D877B}" dt="2023-06-06T09:22:08.263" v="920" actId="478"/>
          <ac:spMkLst>
            <pc:docMk/>
            <pc:sldMk cId="3955236344" sldId="298"/>
            <ac:spMk id="55" creationId="{BA552082-3F63-48DB-AC1C-68DC45C4EE39}"/>
          </ac:spMkLst>
        </pc:spChg>
        <pc:grpChg chg="add mod">
          <ac:chgData name="Lara Cruz" userId="b0f71b28-16e3-44a7-b9d4-cbd6d38f3b0b" providerId="ADAL" clId="{B101B667-BF26-431E-9872-DE58BF1D877B}" dt="2023-06-13T15:37:46.924" v="1593" actId="164"/>
          <ac:grpSpMkLst>
            <pc:docMk/>
            <pc:sldMk cId="3955236344" sldId="298"/>
            <ac:grpSpMk id="2" creationId="{2C886A6F-3D76-0636-9B54-E93137DD5F4C}"/>
          </ac:grpSpMkLst>
        </pc:grpChg>
        <pc:grpChg chg="add mod">
          <ac:chgData name="Lara Cruz" userId="b0f71b28-16e3-44a7-b9d4-cbd6d38f3b0b" providerId="ADAL" clId="{B101B667-BF26-431E-9872-DE58BF1D877B}" dt="2023-06-13T15:38:27.825" v="1601" actId="1076"/>
          <ac:grpSpMkLst>
            <pc:docMk/>
            <pc:sldMk cId="3955236344" sldId="298"/>
            <ac:grpSpMk id="3" creationId="{9CD262E7-FF31-F7FB-DBAB-82EF490C928B}"/>
          </ac:grpSpMkLst>
        </pc:grpChg>
        <pc:grpChg chg="del">
          <ac:chgData name="Lara Cruz" userId="b0f71b28-16e3-44a7-b9d4-cbd6d38f3b0b" providerId="ADAL" clId="{B101B667-BF26-431E-9872-DE58BF1D877B}" dt="2023-06-06T09:20:48.183" v="901" actId="478"/>
          <ac:grpSpMkLst>
            <pc:docMk/>
            <pc:sldMk cId="3955236344" sldId="298"/>
            <ac:grpSpMk id="5" creationId="{36CF1129-B85E-9C0C-C8ED-3F2FBFCCA473}"/>
          </ac:grpSpMkLst>
        </pc:grpChg>
        <pc:grpChg chg="add mod">
          <ac:chgData name="Lara Cruz" userId="b0f71b28-16e3-44a7-b9d4-cbd6d38f3b0b" providerId="ADAL" clId="{B101B667-BF26-431E-9872-DE58BF1D877B}" dt="2023-06-13T15:38:31.879" v="1602" actId="1076"/>
          <ac:grpSpMkLst>
            <pc:docMk/>
            <pc:sldMk cId="3955236344" sldId="298"/>
            <ac:grpSpMk id="5" creationId="{A813F16A-A591-0CB7-AAC0-77F080F9EE3E}"/>
          </ac:grpSpMkLst>
        </pc:grpChg>
        <pc:grpChg chg="add del">
          <ac:chgData name="Lara Cruz" userId="b0f71b28-16e3-44a7-b9d4-cbd6d38f3b0b" providerId="ADAL" clId="{B101B667-BF26-431E-9872-DE58BF1D877B}" dt="2023-06-06T09:22:08.263" v="920" actId="478"/>
          <ac:grpSpMkLst>
            <pc:docMk/>
            <pc:sldMk cId="3955236344" sldId="298"/>
            <ac:grpSpMk id="6" creationId="{0BBE8223-1DAF-3986-E1D2-CCDF9858901B}"/>
          </ac:grpSpMkLst>
        </pc:grpChg>
        <pc:grpChg chg="add mod">
          <ac:chgData name="Lara Cruz" userId="b0f71b28-16e3-44a7-b9d4-cbd6d38f3b0b" providerId="ADAL" clId="{B101B667-BF26-431E-9872-DE58BF1D877B}" dt="2023-06-13T15:38:15.585" v="1599" actId="1076"/>
          <ac:grpSpMkLst>
            <pc:docMk/>
            <pc:sldMk cId="3955236344" sldId="298"/>
            <ac:grpSpMk id="6" creationId="{1E488B65-ABC5-BD08-33A8-8CEDB956D798}"/>
          </ac:grpSpMkLst>
        </pc:grpChg>
        <pc:grpChg chg="del">
          <ac:chgData name="Lara Cruz" userId="b0f71b28-16e3-44a7-b9d4-cbd6d38f3b0b" providerId="ADAL" clId="{B101B667-BF26-431E-9872-DE58BF1D877B}" dt="2023-06-06T09:22:51.306" v="927" actId="478"/>
          <ac:grpSpMkLst>
            <pc:docMk/>
            <pc:sldMk cId="3955236344" sldId="298"/>
            <ac:grpSpMk id="7" creationId="{CD4E98D6-0E11-D7A7-2381-DDB67E9256B0}"/>
          </ac:grpSpMkLst>
        </pc:grpChg>
        <pc:grpChg chg="del">
          <ac:chgData name="Lara Cruz" userId="b0f71b28-16e3-44a7-b9d4-cbd6d38f3b0b" providerId="ADAL" clId="{B101B667-BF26-431E-9872-DE58BF1D877B}" dt="2023-06-06T09:24:11.502" v="939" actId="478"/>
          <ac:grpSpMkLst>
            <pc:docMk/>
            <pc:sldMk cId="3955236344" sldId="298"/>
            <ac:grpSpMk id="16" creationId="{ED012F06-FF46-2696-EDD2-1B69DC496622}"/>
          </ac:grpSpMkLst>
        </pc:grpChg>
        <pc:grpChg chg="add mod">
          <ac:chgData name="Lara Cruz" userId="b0f71b28-16e3-44a7-b9d4-cbd6d38f3b0b" providerId="ADAL" clId="{B101B667-BF26-431E-9872-DE58BF1D877B}" dt="2023-06-13T15:37:53.917" v="1596" actId="164"/>
          <ac:grpSpMkLst>
            <pc:docMk/>
            <pc:sldMk cId="3955236344" sldId="298"/>
            <ac:grpSpMk id="26" creationId="{6AACA507-F1D9-95F3-BF9F-21E2E5628F7C}"/>
          </ac:grpSpMkLst>
        </pc:grpChg>
        <pc:grpChg chg="add mod">
          <ac:chgData name="Lara Cruz" userId="b0f71b28-16e3-44a7-b9d4-cbd6d38f3b0b" providerId="ADAL" clId="{B101B667-BF26-431E-9872-DE58BF1D877B}" dt="2023-06-13T15:37:59.646" v="1597" actId="164"/>
          <ac:grpSpMkLst>
            <pc:docMk/>
            <pc:sldMk cId="3955236344" sldId="298"/>
            <ac:grpSpMk id="29" creationId="{1E155A78-0947-91C8-FE4D-BB49446E1A5A}"/>
          </ac:grpSpMkLst>
        </pc:grpChg>
        <pc:grpChg chg="add mod">
          <ac:chgData name="Lara Cruz" userId="b0f71b28-16e3-44a7-b9d4-cbd6d38f3b0b" providerId="ADAL" clId="{B101B667-BF26-431E-9872-DE58BF1D877B}" dt="2023-06-08T14:40:25.655" v="1547" actId="164"/>
          <ac:grpSpMkLst>
            <pc:docMk/>
            <pc:sldMk cId="3955236344" sldId="298"/>
            <ac:grpSpMk id="43" creationId="{96C27C74-CA0F-FA81-0FDF-39E8E5F4694A}"/>
          </ac:grpSpMkLst>
        </pc:grpChg>
        <pc:picChg chg="del">
          <ac:chgData name="Lara Cruz" userId="b0f71b28-16e3-44a7-b9d4-cbd6d38f3b0b" providerId="ADAL" clId="{B101B667-BF26-431E-9872-DE58BF1D877B}" dt="2023-06-06T09:22:01.357" v="917" actId="478"/>
          <ac:picMkLst>
            <pc:docMk/>
            <pc:sldMk cId="3955236344" sldId="298"/>
            <ac:picMk id="8" creationId="{9A29A290-FBD8-43BA-9C5A-D75E4D0E1609}"/>
          </ac:picMkLst>
        </pc:picChg>
        <pc:picChg chg="del">
          <ac:chgData name="Lara Cruz" userId="b0f71b28-16e3-44a7-b9d4-cbd6d38f3b0b" providerId="ADAL" clId="{B101B667-BF26-431E-9872-DE58BF1D877B}" dt="2023-06-06T09:22:50.764" v="926" actId="478"/>
          <ac:picMkLst>
            <pc:docMk/>
            <pc:sldMk cId="3955236344" sldId="298"/>
            <ac:picMk id="10" creationId="{63D49A8A-D5C3-E48D-F204-882AA6771CBC}"/>
          </ac:picMkLst>
        </pc:picChg>
        <pc:picChg chg="del topLvl">
          <ac:chgData name="Lara Cruz" userId="b0f71b28-16e3-44a7-b9d4-cbd6d38f3b0b" providerId="ADAL" clId="{B101B667-BF26-431E-9872-DE58BF1D877B}" dt="2023-06-06T09:24:11.502" v="939" actId="478"/>
          <ac:picMkLst>
            <pc:docMk/>
            <pc:sldMk cId="3955236344" sldId="298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6-06T09:21:38.702" v="914" actId="14826"/>
          <ac:picMkLst>
            <pc:docMk/>
            <pc:sldMk cId="3955236344" sldId="298"/>
            <ac:picMk id="14" creationId="{92FBDC42-039E-1512-E7A6-667F42B9189F}"/>
          </ac:picMkLst>
        </pc:picChg>
        <pc:picChg chg="del">
          <ac:chgData name="Lara Cruz" userId="b0f71b28-16e3-44a7-b9d4-cbd6d38f3b0b" providerId="ADAL" clId="{B101B667-BF26-431E-9872-DE58BF1D877B}" dt="2023-06-06T09:24:11.502" v="939" actId="478"/>
          <ac:picMkLst>
            <pc:docMk/>
            <pc:sldMk cId="3955236344" sldId="298"/>
            <ac:picMk id="15" creationId="{1823DEA9-DC2E-2912-368A-2770542CBF6F}"/>
          </ac:picMkLst>
        </pc:picChg>
        <pc:picChg chg="mod">
          <ac:chgData name="Lara Cruz" userId="b0f71b28-16e3-44a7-b9d4-cbd6d38f3b0b" providerId="ADAL" clId="{B101B667-BF26-431E-9872-DE58BF1D877B}" dt="2023-06-06T09:22:25.807" v="923" actId="14826"/>
          <ac:picMkLst>
            <pc:docMk/>
            <pc:sldMk cId="3955236344" sldId="298"/>
            <ac:picMk id="28" creationId="{75D610E3-1ED3-7D9E-7697-A1D94107CB4D}"/>
          </ac:picMkLst>
        </pc:picChg>
        <pc:picChg chg="mod">
          <ac:chgData name="Lara Cruz" userId="b0f71b28-16e3-44a7-b9d4-cbd6d38f3b0b" providerId="ADAL" clId="{B101B667-BF26-431E-9872-DE58BF1D877B}" dt="2023-06-06T09:23:10.604" v="930" actId="14826"/>
          <ac:picMkLst>
            <pc:docMk/>
            <pc:sldMk cId="3955236344" sldId="298"/>
            <ac:picMk id="31" creationId="{FB916816-57C4-DD2C-28ED-29859B1D2827}"/>
          </ac:picMkLst>
        </pc:picChg>
        <pc:picChg chg="add mod">
          <ac:chgData name="Lara Cruz" userId="b0f71b28-16e3-44a7-b9d4-cbd6d38f3b0b" providerId="ADAL" clId="{B101B667-BF26-431E-9872-DE58BF1D877B}" dt="2023-06-08T14:40:25.655" v="1547" actId="164"/>
          <ac:picMkLst>
            <pc:docMk/>
            <pc:sldMk cId="3955236344" sldId="298"/>
            <ac:picMk id="33" creationId="{A5610A62-B9F5-0BFD-5CC2-E6942560EBCA}"/>
          </ac:picMkLst>
        </pc:picChg>
        <pc:picChg chg="add mod">
          <ac:chgData name="Lara Cruz" userId="b0f71b28-16e3-44a7-b9d4-cbd6d38f3b0b" providerId="ADAL" clId="{B101B667-BF26-431E-9872-DE58BF1D877B}" dt="2023-06-08T14:40:25.655" v="1547" actId="164"/>
          <ac:picMkLst>
            <pc:docMk/>
            <pc:sldMk cId="3955236344" sldId="298"/>
            <ac:picMk id="35" creationId="{BB0B15FD-AAEC-29DC-4AE7-E32B13899CC9}"/>
          </ac:picMkLst>
        </pc:picChg>
        <pc:picChg chg="del">
          <ac:chgData name="Lara Cruz" userId="b0f71b28-16e3-44a7-b9d4-cbd6d38f3b0b" providerId="ADAL" clId="{B101B667-BF26-431E-9872-DE58BF1D877B}" dt="2023-06-06T09:20:48.183" v="901" actId="478"/>
          <ac:picMkLst>
            <pc:docMk/>
            <pc:sldMk cId="3955236344" sldId="298"/>
            <ac:picMk id="39" creationId="{9394F1C0-2AA8-429C-A5AB-6D6E9A636301}"/>
          </ac:picMkLst>
        </pc:picChg>
        <pc:cxnChg chg="del">
          <ac:chgData name="Lara Cruz" userId="b0f71b28-16e3-44a7-b9d4-cbd6d38f3b0b" providerId="ADAL" clId="{B101B667-BF26-431E-9872-DE58BF1D877B}" dt="2023-06-06T09:25:33.923" v="955" actId="478"/>
          <ac:cxnSpMkLst>
            <pc:docMk/>
            <pc:sldMk cId="3955236344" sldId="298"/>
            <ac:cxnSpMk id="13" creationId="{5233BBF6-80B9-E37E-25FC-37CAB833B521}"/>
          </ac:cxnSpMkLst>
        </pc:cxnChg>
        <pc:cxnChg chg="del">
          <ac:chgData name="Lara Cruz" userId="b0f71b28-16e3-44a7-b9d4-cbd6d38f3b0b" providerId="ADAL" clId="{B101B667-BF26-431E-9872-DE58BF1D877B}" dt="2023-06-06T09:25:10.186" v="949" actId="478"/>
          <ac:cxnSpMkLst>
            <pc:docMk/>
            <pc:sldMk cId="3955236344" sldId="298"/>
            <ac:cxnSpMk id="23" creationId="{EB2D47C8-B163-4B3B-BC37-222578A82313}"/>
          </ac:cxnSpMkLst>
        </pc:cxnChg>
        <pc:cxnChg chg="add mod">
          <ac:chgData name="Lara Cruz" userId="b0f71b28-16e3-44a7-b9d4-cbd6d38f3b0b" providerId="ADAL" clId="{B101B667-BF26-431E-9872-DE58BF1D877B}" dt="2023-06-06T09:25:30.843" v="954" actId="14100"/>
          <ac:cxnSpMkLst>
            <pc:docMk/>
            <pc:sldMk cId="3955236344" sldId="298"/>
            <ac:cxnSpMk id="36" creationId="{0EE2AA70-4F85-CFD1-C205-E8C9B3044F6C}"/>
          </ac:cxnSpMkLst>
        </pc:cxnChg>
        <pc:cxnChg chg="add del mod">
          <ac:chgData name="Lara Cruz" userId="b0f71b28-16e3-44a7-b9d4-cbd6d38f3b0b" providerId="ADAL" clId="{B101B667-BF26-431E-9872-DE58BF1D877B}" dt="2023-06-06T09:25:35.762" v="956" actId="478"/>
          <ac:cxnSpMkLst>
            <pc:docMk/>
            <pc:sldMk cId="3955236344" sldId="298"/>
            <ac:cxnSpMk id="37" creationId="{93451C9C-776A-3E88-7246-144E3408E8BC}"/>
          </ac:cxnSpMkLst>
        </pc:cxnChg>
        <pc:cxnChg chg="add mod">
          <ac:chgData name="Lara Cruz" userId="b0f71b28-16e3-44a7-b9d4-cbd6d38f3b0b" providerId="ADAL" clId="{B101B667-BF26-431E-9872-DE58BF1D877B}" dt="2023-06-06T09:25:48.050" v="960" actId="1076"/>
          <ac:cxnSpMkLst>
            <pc:docMk/>
            <pc:sldMk cId="3955236344" sldId="298"/>
            <ac:cxnSpMk id="40" creationId="{34F90697-F84C-BBAB-0D76-45832485AE6C}"/>
          </ac:cxnSpMkLst>
        </pc:cxnChg>
        <pc:cxnChg chg="del">
          <ac:chgData name="Lara Cruz" userId="b0f71b28-16e3-44a7-b9d4-cbd6d38f3b0b" providerId="ADAL" clId="{B101B667-BF26-431E-9872-DE58BF1D877B}" dt="2023-06-06T09:25:06.571" v="948" actId="478"/>
          <ac:cxnSpMkLst>
            <pc:docMk/>
            <pc:sldMk cId="3955236344" sldId="298"/>
            <ac:cxnSpMk id="41" creationId="{F7EA56B0-54AB-54A6-296D-39845DF62FBF}"/>
          </ac:cxnSpMkLst>
        </pc:cxnChg>
        <pc:cxnChg chg="add mod">
          <ac:chgData name="Lara Cruz" userId="b0f71b28-16e3-44a7-b9d4-cbd6d38f3b0b" providerId="ADAL" clId="{B101B667-BF26-431E-9872-DE58BF1D877B}" dt="2023-06-06T09:25:44.495" v="959" actId="1076"/>
          <ac:cxnSpMkLst>
            <pc:docMk/>
            <pc:sldMk cId="3955236344" sldId="298"/>
            <ac:cxnSpMk id="42" creationId="{0D08ECE7-759E-8412-1C2D-7EB8AD93A8C4}"/>
          </ac:cxnSpMkLst>
        </pc:cxnChg>
      </pc:sldChg>
      <pc:sldChg chg="addSp delSp modSp add mod">
        <pc:chgData name="Lara Cruz" userId="b0f71b28-16e3-44a7-b9d4-cbd6d38f3b0b" providerId="ADAL" clId="{B101B667-BF26-431E-9872-DE58BF1D877B}" dt="2023-06-08T13:58:18.287" v="1546" actId="1076"/>
        <pc:sldMkLst>
          <pc:docMk/>
          <pc:sldMk cId="2716692719" sldId="300"/>
        </pc:sldMkLst>
        <pc:spChg chg="add del">
          <ac:chgData name="Lara Cruz" userId="b0f71b28-16e3-44a7-b9d4-cbd6d38f3b0b" providerId="ADAL" clId="{B101B667-BF26-431E-9872-DE58BF1D877B}" dt="2023-06-08T13:54:29.004" v="1472" actId="478"/>
          <ac:spMkLst>
            <pc:docMk/>
            <pc:sldMk cId="2716692719" sldId="300"/>
            <ac:spMk id="4" creationId="{41EB62B7-D2DD-C540-F1FD-120730893CE8}"/>
          </ac:spMkLst>
        </pc:spChg>
        <pc:spChg chg="add mod">
          <ac:chgData name="Lara Cruz" userId="b0f71b28-16e3-44a7-b9d4-cbd6d38f3b0b" providerId="ADAL" clId="{B101B667-BF26-431E-9872-DE58BF1D877B}" dt="2023-06-08T13:58:11.069" v="1545" actId="1076"/>
          <ac:spMkLst>
            <pc:docMk/>
            <pc:sldMk cId="2716692719" sldId="300"/>
            <ac:spMk id="6" creationId="{4A5446E3-5BE1-EABC-294E-A210F4F12529}"/>
          </ac:spMkLst>
        </pc:spChg>
        <pc:spChg chg="mod">
          <ac:chgData name="Lara Cruz" userId="b0f71b28-16e3-44a7-b9d4-cbd6d38f3b0b" providerId="ADAL" clId="{B101B667-BF26-431E-9872-DE58BF1D877B}" dt="2023-06-08T13:44:41.064" v="1050" actId="1076"/>
          <ac:spMkLst>
            <pc:docMk/>
            <pc:sldMk cId="2716692719" sldId="300"/>
            <ac:spMk id="11" creationId="{3A7CE1FB-291E-9111-6FAF-AA2582E3D011}"/>
          </ac:spMkLst>
        </pc:spChg>
        <pc:spChg chg="mod">
          <ac:chgData name="Lara Cruz" userId="b0f71b28-16e3-44a7-b9d4-cbd6d38f3b0b" providerId="ADAL" clId="{B101B667-BF26-431E-9872-DE58BF1D877B}" dt="2023-06-08T13:56:40.676" v="1542" actId="20577"/>
          <ac:spMkLst>
            <pc:docMk/>
            <pc:sldMk cId="2716692719" sldId="300"/>
            <ac:spMk id="18" creationId="{A96764BA-4B60-99FF-7B16-CEACC1D3AB17}"/>
          </ac:spMkLst>
        </pc:spChg>
        <pc:picChg chg="mod">
          <ac:chgData name="Lara Cruz" userId="b0f71b28-16e3-44a7-b9d4-cbd6d38f3b0b" providerId="ADAL" clId="{B101B667-BF26-431E-9872-DE58BF1D877B}" dt="2023-06-08T13:58:11.069" v="1545" actId="1076"/>
          <ac:picMkLst>
            <pc:docMk/>
            <pc:sldMk cId="2716692719" sldId="300"/>
            <ac:picMk id="3" creationId="{AAA2643C-D414-BA28-749A-5B5B966180CC}"/>
          </ac:picMkLst>
        </pc:picChg>
        <pc:picChg chg="add mod">
          <ac:chgData name="Lara Cruz" userId="b0f71b28-16e3-44a7-b9d4-cbd6d38f3b0b" providerId="ADAL" clId="{B101B667-BF26-431E-9872-DE58BF1D877B}" dt="2023-06-08T13:58:11.069" v="1545" actId="1076"/>
          <ac:picMkLst>
            <pc:docMk/>
            <pc:sldMk cId="2716692719" sldId="300"/>
            <ac:picMk id="8" creationId="{B377397A-9A1D-BBE8-3C1C-E72A679BB1A4}"/>
          </ac:picMkLst>
        </pc:picChg>
        <pc:picChg chg="mod">
          <ac:chgData name="Lara Cruz" userId="b0f71b28-16e3-44a7-b9d4-cbd6d38f3b0b" providerId="ADAL" clId="{B101B667-BF26-431E-9872-DE58BF1D877B}" dt="2023-06-08T13:54:10.088" v="1468" actId="14100"/>
          <ac:picMkLst>
            <pc:docMk/>
            <pc:sldMk cId="2716692719" sldId="300"/>
            <ac:picMk id="9" creationId="{53A33610-DC8B-CCB4-3CAC-DDB2D767053A}"/>
          </ac:picMkLst>
        </pc:picChg>
        <pc:picChg chg="mod">
          <ac:chgData name="Lara Cruz" userId="b0f71b28-16e3-44a7-b9d4-cbd6d38f3b0b" providerId="ADAL" clId="{B101B667-BF26-431E-9872-DE58BF1D877B}" dt="2023-06-08T13:54:43.354" v="1477" actId="1076"/>
          <ac:picMkLst>
            <pc:docMk/>
            <pc:sldMk cId="2716692719" sldId="300"/>
            <ac:picMk id="15" creationId="{048AF8F7-9AFE-4044-9837-6B6CD3305E92}"/>
          </ac:picMkLst>
        </pc:picChg>
        <pc:picChg chg="add mod">
          <ac:chgData name="Lara Cruz" userId="b0f71b28-16e3-44a7-b9d4-cbd6d38f3b0b" providerId="ADAL" clId="{B101B667-BF26-431E-9872-DE58BF1D877B}" dt="2023-06-08T13:58:18.287" v="1546" actId="1076"/>
          <ac:picMkLst>
            <pc:docMk/>
            <pc:sldMk cId="2716692719" sldId="300"/>
            <ac:picMk id="16" creationId="{AB7BB5C9-F4EF-9DEC-2051-EDC3B6E73BEB}"/>
          </ac:picMkLst>
        </pc:picChg>
        <pc:picChg chg="del">
          <ac:chgData name="Lara Cruz" userId="b0f71b28-16e3-44a7-b9d4-cbd6d38f3b0b" providerId="ADAL" clId="{B101B667-BF26-431E-9872-DE58BF1D877B}" dt="2023-06-08T13:54:13.484" v="1469" actId="478"/>
          <ac:picMkLst>
            <pc:docMk/>
            <pc:sldMk cId="2716692719" sldId="300"/>
            <ac:picMk id="21" creationId="{409D514F-6128-A433-FFAD-9C6141DEBDD8}"/>
          </ac:picMkLst>
        </pc:picChg>
        <pc:cxnChg chg="mod">
          <ac:chgData name="Lara Cruz" userId="b0f71b28-16e3-44a7-b9d4-cbd6d38f3b0b" providerId="ADAL" clId="{B101B667-BF26-431E-9872-DE58BF1D877B}" dt="2023-06-08T13:44:44.236" v="1051" actId="1076"/>
          <ac:cxnSpMkLst>
            <pc:docMk/>
            <pc:sldMk cId="2716692719" sldId="300"/>
            <ac:cxnSpMk id="10" creationId="{F88256EC-B4FB-309C-18BD-8C0F4C2DAD16}"/>
          </ac:cxnSpMkLst>
        </pc:cxnChg>
      </pc:sldChg>
      <pc:sldChg chg="addSp delSp modSp new mod">
        <pc:chgData name="Lara Cruz" userId="b0f71b28-16e3-44a7-b9d4-cbd6d38f3b0b" providerId="ADAL" clId="{B101B667-BF26-431E-9872-DE58BF1D877B}" dt="2023-06-14T14:52:00.051" v="1659" actId="207"/>
        <pc:sldMkLst>
          <pc:docMk/>
          <pc:sldMk cId="4009788007" sldId="301"/>
        </pc:sldMkLst>
        <pc:spChg chg="del">
          <ac:chgData name="Lara Cruz" userId="b0f71b28-16e3-44a7-b9d4-cbd6d38f3b0b" providerId="ADAL" clId="{B101B667-BF26-431E-9872-DE58BF1D877B}" dt="2023-06-08T13:44:58.590" v="1053" actId="931"/>
          <ac:spMkLst>
            <pc:docMk/>
            <pc:sldMk cId="4009788007" sldId="301"/>
            <ac:spMk id="2" creationId="{B1935718-EABD-E09D-C65C-B78DF799E014}"/>
          </ac:spMkLst>
        </pc:spChg>
        <pc:spChg chg="mod">
          <ac:chgData name="Lara Cruz" userId="b0f71b28-16e3-44a7-b9d4-cbd6d38f3b0b" providerId="ADAL" clId="{B101B667-BF26-431E-9872-DE58BF1D877B}" dt="2023-06-08T13:56:48.130" v="1543" actId="1076"/>
          <ac:spMkLst>
            <pc:docMk/>
            <pc:sldMk cId="4009788007" sldId="301"/>
            <ac:spMk id="3" creationId="{83974190-FD30-7FB7-9CD0-5BEC4D3EDC3E}"/>
          </ac:spMkLst>
        </pc:spChg>
        <pc:spChg chg="mod">
          <ac:chgData name="Lara Cruz" userId="b0f71b28-16e3-44a7-b9d4-cbd6d38f3b0b" providerId="ADAL" clId="{B101B667-BF26-431E-9872-DE58BF1D877B}" dt="2023-06-08T13:45:26.884" v="1074" actId="20577"/>
          <ac:spMkLst>
            <pc:docMk/>
            <pc:sldMk cId="4009788007" sldId="301"/>
            <ac:spMk id="4" creationId="{AF85268D-D325-72DB-6FDC-93F59CD6C80A}"/>
          </ac:spMkLst>
        </pc:spChg>
        <pc:spChg chg="add mod">
          <ac:chgData name="Lara Cruz" userId="b0f71b28-16e3-44a7-b9d4-cbd6d38f3b0b" providerId="ADAL" clId="{B101B667-BF26-431E-9872-DE58BF1D877B}" dt="2023-06-14T14:52:00.051" v="1659" actId="207"/>
          <ac:spMkLst>
            <pc:docMk/>
            <pc:sldMk cId="4009788007" sldId="301"/>
            <ac:spMk id="5" creationId="{4C41DB67-704C-61A3-DA26-79D5B3F49034}"/>
          </ac:spMkLst>
        </pc:spChg>
        <pc:spChg chg="add del mod">
          <ac:chgData name="Lara Cruz" userId="b0f71b28-16e3-44a7-b9d4-cbd6d38f3b0b" providerId="ADAL" clId="{B101B667-BF26-431E-9872-DE58BF1D877B}" dt="2023-06-08T13:51:55.337" v="1383" actId="478"/>
          <ac:spMkLst>
            <pc:docMk/>
            <pc:sldMk cId="4009788007" sldId="301"/>
            <ac:spMk id="10" creationId="{A082C0E8-BEBB-970E-5DC7-6C2385ACCA7C}"/>
          </ac:spMkLst>
        </pc:spChg>
        <pc:picChg chg="add mod">
          <ac:chgData name="Lara Cruz" userId="b0f71b28-16e3-44a7-b9d4-cbd6d38f3b0b" providerId="ADAL" clId="{B101B667-BF26-431E-9872-DE58BF1D877B}" dt="2023-06-08T13:57:03.498" v="1544" actId="1076"/>
          <ac:picMkLst>
            <pc:docMk/>
            <pc:sldMk cId="4009788007" sldId="301"/>
            <ac:picMk id="6" creationId="{5628F3E0-41A7-621A-0836-E323FA32061C}"/>
          </ac:picMkLst>
        </pc:picChg>
        <pc:picChg chg="add mod">
          <ac:chgData name="Lara Cruz" userId="b0f71b28-16e3-44a7-b9d4-cbd6d38f3b0b" providerId="ADAL" clId="{B101B667-BF26-431E-9872-DE58BF1D877B}" dt="2023-06-08T13:51:11.380" v="1372" actId="14100"/>
          <ac:picMkLst>
            <pc:docMk/>
            <pc:sldMk cId="4009788007" sldId="301"/>
            <ac:picMk id="12" creationId="{38A6BCD5-6C51-807A-9383-17AB3E8703AD}"/>
          </ac:picMkLst>
        </pc:picChg>
        <pc:picChg chg="add del mod">
          <ac:chgData name="Lara Cruz" userId="b0f71b28-16e3-44a7-b9d4-cbd6d38f3b0b" providerId="ADAL" clId="{B101B667-BF26-431E-9872-DE58BF1D877B}" dt="2023-06-08T13:51:25.044" v="1377" actId="478"/>
          <ac:picMkLst>
            <pc:docMk/>
            <pc:sldMk cId="4009788007" sldId="301"/>
            <ac:picMk id="14" creationId="{5448CF91-492D-2405-AC0F-45B1D563B508}"/>
          </ac:picMkLst>
        </pc:picChg>
        <pc:picChg chg="add mod">
          <ac:chgData name="Lara Cruz" userId="b0f71b28-16e3-44a7-b9d4-cbd6d38f3b0b" providerId="ADAL" clId="{B101B667-BF26-431E-9872-DE58BF1D877B}" dt="2023-06-08T13:51:35.515" v="1382" actId="1076"/>
          <ac:picMkLst>
            <pc:docMk/>
            <pc:sldMk cId="4009788007" sldId="301"/>
            <ac:picMk id="16" creationId="{B2EC4319-DD0B-02E3-93A1-8A9196E46D19}"/>
          </ac:picMkLst>
        </pc:picChg>
        <pc:cxnChg chg="add mod">
          <ac:chgData name="Lara Cruz" userId="b0f71b28-16e3-44a7-b9d4-cbd6d38f3b0b" providerId="ADAL" clId="{B101B667-BF26-431E-9872-DE58BF1D877B}" dt="2023-06-08T13:49:55.623" v="1309" actId="14100"/>
          <ac:cxnSpMkLst>
            <pc:docMk/>
            <pc:sldMk cId="4009788007" sldId="301"/>
            <ac:cxnSpMk id="7" creationId="{15985D29-17D8-AA04-DFEF-471445B1645C}"/>
          </ac:cxnSpMkLst>
        </pc:cxnChg>
      </pc:sldChg>
      <pc:sldChg chg="modSp add mod">
        <pc:chgData name="Lara Cruz" userId="b0f71b28-16e3-44a7-b9d4-cbd6d38f3b0b" providerId="ADAL" clId="{B101B667-BF26-431E-9872-DE58BF1D877B}" dt="2023-06-14T14:54:28.206" v="1675" actId="20577"/>
        <pc:sldMkLst>
          <pc:docMk/>
          <pc:sldMk cId="506989637" sldId="2147374855"/>
        </pc:sldMkLst>
        <pc:spChg chg="mod">
          <ac:chgData name="Lara Cruz" userId="b0f71b28-16e3-44a7-b9d4-cbd6d38f3b0b" providerId="ADAL" clId="{B101B667-BF26-431E-9872-DE58BF1D877B}" dt="2023-06-14T14:54:23.230" v="1662" actId="113"/>
          <ac:spMkLst>
            <pc:docMk/>
            <pc:sldMk cId="506989637" sldId="2147374855"/>
            <ac:spMk id="18" creationId="{8DE207BB-C5D4-4F24-B248-9E88BAE129BE}"/>
          </ac:spMkLst>
        </pc:spChg>
        <pc:spChg chg="mod">
          <ac:chgData name="Lara Cruz" userId="b0f71b28-16e3-44a7-b9d4-cbd6d38f3b0b" providerId="ADAL" clId="{B101B667-BF26-431E-9872-DE58BF1D877B}" dt="2023-06-14T14:54:28.206" v="1675" actId="20577"/>
          <ac:spMkLst>
            <pc:docMk/>
            <pc:sldMk cId="506989637" sldId="2147374855"/>
            <ac:spMk id="20" creationId="{45792D2E-6BEE-4838-AE92-3B32AE5DBD33}"/>
          </ac:spMkLst>
        </pc:spChg>
      </pc:sldChg>
    </pc:docChg>
  </pc:docChgLst>
  <pc:docChgLst>
    <pc:chgData name="Naomi Ho" userId="S::naomi.ho@bettercotton.org::2faf95aa-450d-4d35-8c7f-d27430629a1c" providerId="AD" clId="Web-{AAA6E5B1-EA85-EF99-1D72-08711793A0E2}"/>
    <pc:docChg chg="addSld modSld">
      <pc:chgData name="Naomi Ho" userId="S::naomi.ho@bettercotton.org::2faf95aa-450d-4d35-8c7f-d27430629a1c" providerId="AD" clId="Web-{AAA6E5B1-EA85-EF99-1D72-08711793A0E2}" dt="2023-06-05T15:31:57.476" v="98" actId="1076"/>
      <pc:docMkLst>
        <pc:docMk/>
      </pc:docMkLst>
      <pc:sldChg chg="addSp delSp">
        <pc:chgData name="Naomi Ho" userId="S::naomi.ho@bettercotton.org::2faf95aa-450d-4d35-8c7f-d27430629a1c" providerId="AD" clId="Web-{AAA6E5B1-EA85-EF99-1D72-08711793A0E2}" dt="2023-06-05T15:26:28.488" v="39"/>
        <pc:sldMkLst>
          <pc:docMk/>
          <pc:sldMk cId="824739939" sldId="288"/>
        </pc:sldMkLst>
        <pc:grpChg chg="del">
          <ac:chgData name="Naomi Ho" userId="S::naomi.ho@bettercotton.org::2faf95aa-450d-4d35-8c7f-d27430629a1c" providerId="AD" clId="Web-{AAA6E5B1-EA85-EF99-1D72-08711793A0E2}" dt="2023-06-05T15:26:09.659" v="34"/>
          <ac:grpSpMkLst>
            <pc:docMk/>
            <pc:sldMk cId="824739939" sldId="288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6:10.690" v="35"/>
          <ac:grpSpMkLst>
            <pc:docMk/>
            <pc:sldMk cId="824739939" sldId="288"/>
            <ac:grpSpMk id="7" creationId="{CD4E98D6-0E11-D7A7-2381-DDB67E9256B0}"/>
          </ac:grpSpMkLst>
        </pc:grpChg>
        <pc:grpChg chg="add del">
          <ac:chgData name="Naomi Ho" userId="S::naomi.ho@bettercotton.org::2faf95aa-450d-4d35-8c7f-d27430629a1c" providerId="AD" clId="Web-{AAA6E5B1-EA85-EF99-1D72-08711793A0E2}" dt="2023-06-05T15:26:25.723" v="38"/>
          <ac:grpSpMkLst>
            <pc:docMk/>
            <pc:sldMk cId="824739939" sldId="288"/>
            <ac:grpSpMk id="36" creationId="{D510A60A-AFFE-0B65-DF06-0228F0EC747F}"/>
          </ac:grpSpMkLst>
        </pc:grpChg>
        <pc:cxnChg chg="add del">
          <ac:chgData name="Naomi Ho" userId="S::naomi.ho@bettercotton.org::2faf95aa-450d-4d35-8c7f-d27430629a1c" providerId="AD" clId="Web-{AAA6E5B1-EA85-EF99-1D72-08711793A0E2}" dt="2023-06-05T15:26:28.488" v="39"/>
          <ac:cxnSpMkLst>
            <pc:docMk/>
            <pc:sldMk cId="824739939" sldId="288"/>
            <ac:cxnSpMk id="13" creationId="{5233BBF6-80B9-E37E-25FC-37CAB833B521}"/>
          </ac:cxnSpMkLst>
        </pc:cxnChg>
      </pc:sldChg>
      <pc:sldChg chg="delSp modSp">
        <pc:chgData name="Naomi Ho" userId="S::naomi.ho@bettercotton.org::2faf95aa-450d-4d35-8c7f-d27430629a1c" providerId="AD" clId="Web-{AAA6E5B1-EA85-EF99-1D72-08711793A0E2}" dt="2023-06-05T15:28:40.652" v="50"/>
        <pc:sldMkLst>
          <pc:docMk/>
          <pc:sldMk cId="2385738458" sldId="289"/>
        </pc:sldMkLst>
        <pc:spChg chg="mod">
          <ac:chgData name="Naomi Ho" userId="S::naomi.ho@bettercotton.org::2faf95aa-450d-4d35-8c7f-d27430629a1c" providerId="AD" clId="Web-{AAA6E5B1-EA85-EF99-1D72-08711793A0E2}" dt="2023-06-05T15:28:08.229" v="43" actId="20577"/>
          <ac:spMkLst>
            <pc:docMk/>
            <pc:sldMk cId="2385738458" sldId="289"/>
            <ac:spMk id="12" creationId="{E01AE70E-97E5-1343-D8F9-C314F1AB53B1}"/>
          </ac:spMkLst>
        </pc:spChg>
        <pc:spChg chg="mod">
          <ac:chgData name="Naomi Ho" userId="S::naomi.ho@bettercotton.org::2faf95aa-450d-4d35-8c7f-d27430629a1c" providerId="AD" clId="Web-{AAA6E5B1-EA85-EF99-1D72-08711793A0E2}" dt="2023-06-05T15:28:31.339" v="49" actId="20577"/>
          <ac:spMkLst>
            <pc:docMk/>
            <pc:sldMk cId="2385738458" sldId="289"/>
            <ac:spMk id="18" creationId="{2FE7C207-7979-7DDB-C5B5-65975D660D5C}"/>
          </ac:spMkLst>
        </pc:spChg>
        <pc:grpChg chg="del">
          <ac:chgData name="Naomi Ho" userId="S::naomi.ho@bettercotton.org::2faf95aa-450d-4d35-8c7f-d27430629a1c" providerId="AD" clId="Web-{AAA6E5B1-EA85-EF99-1D72-08711793A0E2}" dt="2023-06-05T15:28:40.652" v="50"/>
          <ac:grpSpMkLst>
            <pc:docMk/>
            <pc:sldMk cId="2385738458" sldId="289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8:10.869" v="45"/>
          <ac:grpSpMkLst>
            <pc:docMk/>
            <pc:sldMk cId="2385738458" sldId="289"/>
            <ac:grpSpMk id="7" creationId="{CD4E98D6-0E11-D7A7-2381-DDB67E9256B0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8:09.244" v="44"/>
          <ac:grpSpMkLst>
            <pc:docMk/>
            <pc:sldMk cId="2385738458" sldId="289"/>
            <ac:grpSpMk id="36" creationId="{D510A60A-AFFE-0B65-DF06-0228F0EC747F}"/>
          </ac:grpSpMkLst>
        </pc:grpChg>
      </pc:sldChg>
      <pc:sldChg chg="delSp modSp">
        <pc:chgData name="Naomi Ho" userId="S::naomi.ho@bettercotton.org::2faf95aa-450d-4d35-8c7f-d27430629a1c" providerId="AD" clId="Web-{AAA6E5B1-EA85-EF99-1D72-08711793A0E2}" dt="2023-06-05T15:31:57.476" v="98" actId="1076"/>
        <pc:sldMkLst>
          <pc:docMk/>
          <pc:sldMk cId="2869463670" sldId="290"/>
        </pc:sldMkLst>
        <pc:spChg chg="mod topLvl">
          <ac:chgData name="Naomi Ho" userId="S::naomi.ho@bettercotton.org::2faf95aa-450d-4d35-8c7f-d27430629a1c" providerId="AD" clId="Web-{AAA6E5B1-EA85-EF99-1D72-08711793A0E2}" dt="2023-06-05T15:31:42.835" v="95" actId="14100"/>
          <ac:spMkLst>
            <pc:docMk/>
            <pc:sldMk cId="2869463670" sldId="290"/>
            <ac:spMk id="3" creationId="{71DA2796-63A2-45F2-BA29-24BA5E301F44}"/>
          </ac:spMkLst>
        </pc:spChg>
        <pc:spChg chg="mod">
          <ac:chgData name="Naomi Ho" userId="S::naomi.ho@bettercotton.org::2faf95aa-450d-4d35-8c7f-d27430629a1c" providerId="AD" clId="Web-{AAA6E5B1-EA85-EF99-1D72-08711793A0E2}" dt="2023-06-05T15:30:41.363" v="77" actId="1076"/>
          <ac:spMkLst>
            <pc:docMk/>
            <pc:sldMk cId="2869463670" sldId="290"/>
            <ac:spMk id="17" creationId="{AC1603E2-7225-D631-0A5D-4EF9652B2B0C}"/>
          </ac:spMkLst>
        </pc:spChg>
        <pc:spChg chg="del">
          <ac:chgData name="Naomi Ho" userId="S::naomi.ho@bettercotton.org::2faf95aa-450d-4d35-8c7f-d27430629a1c" providerId="AD" clId="Web-{AAA6E5B1-EA85-EF99-1D72-08711793A0E2}" dt="2023-06-05T15:29:47.672" v="74"/>
          <ac:spMkLst>
            <pc:docMk/>
            <pc:sldMk cId="2869463670" sldId="290"/>
            <ac:spMk id="18" creationId="{2FE7C207-7979-7DDB-C5B5-65975D660D5C}"/>
          </ac:spMkLst>
        </pc:spChg>
        <pc:spChg chg="mod topLvl">
          <ac:chgData name="Naomi Ho" userId="S::naomi.ho@bettercotton.org::2faf95aa-450d-4d35-8c7f-d27430629a1c" providerId="AD" clId="Web-{AAA6E5B1-EA85-EF99-1D72-08711793A0E2}" dt="2023-06-05T15:31:57.476" v="98" actId="1076"/>
          <ac:spMkLst>
            <pc:docMk/>
            <pc:sldMk cId="2869463670" sldId="290"/>
            <ac:spMk id="34" creationId="{724CFC56-AE5C-448B-9F72-F57F297529F4}"/>
          </ac:spMkLst>
        </pc:spChg>
        <pc:grpChg chg="del">
          <ac:chgData name="Naomi Ho" userId="S::naomi.ho@bettercotton.org::2faf95aa-450d-4d35-8c7f-d27430629a1c" providerId="AD" clId="Web-{AAA6E5B1-EA85-EF99-1D72-08711793A0E2}" dt="2023-06-05T15:30:46.957" v="78"/>
          <ac:grpSpMkLst>
            <pc:docMk/>
            <pc:sldMk cId="2869463670" sldId="290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5.218" v="67"/>
          <ac:grpSpMkLst>
            <pc:docMk/>
            <pc:sldMk cId="2869463670" sldId="290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6.265" v="68"/>
          <ac:grpSpMkLst>
            <pc:docMk/>
            <pc:sldMk cId="2869463670" sldId="290"/>
            <ac:grpSpMk id="7" creationId="{CD4E98D6-0E11-D7A7-2381-DDB67E9256B0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44.969" v="73"/>
          <ac:grpSpMkLst>
            <pc:docMk/>
            <pc:sldMk cId="2869463670" sldId="290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9.531" v="71"/>
          <ac:grpSpMkLst>
            <pc:docMk/>
            <pc:sldMk cId="2869463670" sldId="290"/>
            <ac:grpSpMk id="36" creationId="{D510A60A-AFFE-0B65-DF06-0228F0EC747F}"/>
          </ac:grpSpMkLst>
        </pc:grpChg>
        <pc:picChg chg="mod topLvl">
          <ac:chgData name="Naomi Ho" userId="S::naomi.ho@bettercotton.org::2faf95aa-450d-4d35-8c7f-d27430629a1c" providerId="AD" clId="Web-{AAA6E5B1-EA85-EF99-1D72-08711793A0E2}" dt="2023-06-05T15:31:51.320" v="97" actId="1076"/>
          <ac:picMkLst>
            <pc:docMk/>
            <pc:sldMk cId="2869463670" sldId="290"/>
            <ac:picMk id="39" creationId="{9394F1C0-2AA8-429C-A5AB-6D6E9A636301}"/>
          </ac:picMkLst>
        </pc:picChg>
        <pc:cxnChg chg="del">
          <ac:chgData name="Naomi Ho" userId="S::naomi.ho@bettercotton.org::2faf95aa-450d-4d35-8c7f-d27430629a1c" providerId="AD" clId="Web-{AAA6E5B1-EA85-EF99-1D72-08711793A0E2}" dt="2023-06-05T15:29:37.359" v="69"/>
          <ac:cxnSpMkLst>
            <pc:docMk/>
            <pc:sldMk cId="2869463670" sldId="290"/>
            <ac:cxnSpMk id="13" creationId="{5233BBF6-80B9-E37E-25FC-37CAB833B521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29:38.796" v="70"/>
          <ac:cxnSpMkLst>
            <pc:docMk/>
            <pc:sldMk cId="2869463670" sldId="290"/>
            <ac:cxnSpMk id="14" creationId="{7EDE9661-4245-DD74-F6A2-DD7F25FB5E2B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30:36.315" v="76"/>
          <ac:cxnSpMkLst>
            <pc:docMk/>
            <pc:sldMk cId="2869463670" sldId="290"/>
            <ac:cxnSpMk id="23" creationId="{EB2D47C8-B163-4B3B-BC37-222578A82313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29:42.812" v="72"/>
          <ac:cxnSpMkLst>
            <pc:docMk/>
            <pc:sldMk cId="2869463670" sldId="290"/>
            <ac:cxnSpMk id="41" creationId="{F7EA56B0-54AB-54A6-296D-39845DF62FBF}"/>
          </ac:cxnSpMkLst>
        </pc:cxnChg>
      </pc:sldChg>
      <pc:sldChg chg="modSp add replId">
        <pc:chgData name="Naomi Ho" userId="S::naomi.ho@bettercotton.org::2faf95aa-450d-4d35-8c7f-d27430629a1c" providerId="AD" clId="Web-{AAA6E5B1-EA85-EF99-1D72-08711793A0E2}" dt="2023-06-05T15:25:55.315" v="33" actId="20577"/>
        <pc:sldMkLst>
          <pc:docMk/>
          <pc:sldMk cId="1138175935" sldId="292"/>
        </pc:sldMkLst>
        <pc:spChg chg="mod">
          <ac:chgData name="Naomi Ho" userId="S::naomi.ho@bettercotton.org::2faf95aa-450d-4d35-8c7f-d27430629a1c" providerId="AD" clId="Web-{AAA6E5B1-EA85-EF99-1D72-08711793A0E2}" dt="2023-06-05T15:25:55.315" v="33" actId="20577"/>
          <ac:spMkLst>
            <pc:docMk/>
            <pc:sldMk cId="1138175935" sldId="292"/>
            <ac:spMk id="25" creationId="{DD37C7B6-AE61-47FE-9F3C-2EB017FB748E}"/>
          </ac:spMkLst>
        </pc:spChg>
      </pc:sldChg>
      <pc:sldChg chg="delSp modSp add replId">
        <pc:chgData name="Naomi Ho" userId="S::naomi.ho@bettercotton.org::2faf95aa-450d-4d35-8c7f-d27430629a1c" providerId="AD" clId="Web-{AAA6E5B1-EA85-EF99-1D72-08711793A0E2}" dt="2023-06-05T15:29:21.639" v="66" actId="20577"/>
        <pc:sldMkLst>
          <pc:docMk/>
          <pc:sldMk cId="1297534275" sldId="293"/>
        </pc:sldMkLst>
        <pc:spChg chg="mod">
          <ac:chgData name="Naomi Ho" userId="S::naomi.ho@bettercotton.org::2faf95aa-450d-4d35-8c7f-d27430629a1c" providerId="AD" clId="Web-{AAA6E5B1-EA85-EF99-1D72-08711793A0E2}" dt="2023-06-05T15:29:21.639" v="66" actId="20577"/>
          <ac:spMkLst>
            <pc:docMk/>
            <pc:sldMk cId="1297534275" sldId="293"/>
            <ac:spMk id="20" creationId="{01A05EAE-9924-A096-762A-25AD3271E03A}"/>
          </ac:spMkLst>
        </pc:spChg>
        <pc:grpChg chg="del">
          <ac:chgData name="Naomi Ho" userId="S::naomi.ho@bettercotton.org::2faf95aa-450d-4d35-8c7f-d27430629a1c" providerId="AD" clId="Web-{AAA6E5B1-EA85-EF99-1D72-08711793A0E2}" dt="2023-06-05T15:29:05.560" v="52"/>
          <ac:grpSpMkLst>
            <pc:docMk/>
            <pc:sldMk cId="1297534275" sldId="293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09.029" v="54"/>
          <ac:grpSpMkLst>
            <pc:docMk/>
            <pc:sldMk cId="1297534275" sldId="293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08.013" v="53"/>
          <ac:grpSpMkLst>
            <pc:docMk/>
            <pc:sldMk cId="1297534275" sldId="293"/>
            <ac:grpSpMk id="36" creationId="{D510A60A-AFFE-0B65-DF06-0228F0EC747F}"/>
          </ac:grpSpMkLst>
        </pc:grpChg>
      </pc:sldChg>
    </pc:docChg>
  </pc:docChgLst>
  <pc:docChgLst>
    <pc:chgData name="Naomi Ho" userId="S::naomi.ho@bettercotton.org::2faf95aa-450d-4d35-8c7f-d27430629a1c" providerId="AD" clId="Web-{8EEB799E-A86B-41C7-BAAE-C1D513D4678D}"/>
    <pc:docChg chg="modSld">
      <pc:chgData name="Naomi Ho" userId="S::naomi.ho@bettercotton.org::2faf95aa-450d-4d35-8c7f-d27430629a1c" providerId="AD" clId="Web-{8EEB799E-A86B-41C7-BAAE-C1D513D4678D}" dt="2023-05-24T16:08:13.944" v="1" actId="20577"/>
      <pc:docMkLst>
        <pc:docMk/>
      </pc:docMkLst>
      <pc:sldChg chg="modSp">
        <pc:chgData name="Naomi Ho" userId="S::naomi.ho@bettercotton.org::2faf95aa-450d-4d35-8c7f-d27430629a1c" providerId="AD" clId="Web-{8EEB799E-A86B-41C7-BAAE-C1D513D4678D}" dt="2023-05-24T16:08:13.944" v="1" actId="20577"/>
        <pc:sldMkLst>
          <pc:docMk/>
          <pc:sldMk cId="1890534255" sldId="291"/>
        </pc:sldMkLst>
        <pc:spChg chg="mod">
          <ac:chgData name="Naomi Ho" userId="S::naomi.ho@bettercotton.org::2faf95aa-450d-4d35-8c7f-d27430629a1c" providerId="AD" clId="Web-{8EEB799E-A86B-41C7-BAAE-C1D513D4678D}" dt="2023-05-24T16:08:13.944" v="1" actId="20577"/>
          <ac:spMkLst>
            <pc:docMk/>
            <pc:sldMk cId="1890534255" sldId="291"/>
            <ac:spMk id="20" creationId="{01A05EAE-9924-A096-762A-25AD3271E03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91B962-BB28-4681-918A-FA69A43048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330444-FE9C-465D-9788-6B24714ACA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8884E4-C4CE-4F3E-AFB0-87EE7C4B14C8}" type="datetimeFigureOut">
              <a:rPr lang="en-GB" smtClean="0"/>
              <a:t>22/06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F87B7E-8806-4FC2-BC4B-1EFEDE60B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3EA57E-71FA-4D10-B775-876C3C81CA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B8065F-5B30-463D-8C07-2BC55A14E5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69530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043435-6B5A-4264-B384-479DD080028A}" type="datetimeFigureOut">
              <a:rPr lang="en-GB" smtClean="0"/>
              <a:t>22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083DDD-75B9-4D38-9D57-9E5D94C61E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09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ECCBBC-4017-5345-80D2-9C8E720DBD43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42445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ECCBBC-4017-5345-80D2-9C8E720DBD43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774479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ECCBBC-4017-5345-80D2-9C8E720DBD43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38564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86676D4-BE0D-4409-AD90-B5A80D163F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550" y="0"/>
            <a:ext cx="10264614" cy="11313204"/>
          </a:xfrm>
          <a:custGeom>
            <a:avLst/>
            <a:gdLst>
              <a:gd name="connsiteX0" fmla="*/ 0 w 10264614"/>
              <a:gd name="connsiteY0" fmla="*/ 0 h 11313204"/>
              <a:gd name="connsiteX1" fmla="*/ 10264614 w 10264614"/>
              <a:gd name="connsiteY1" fmla="*/ 0 h 11313204"/>
              <a:gd name="connsiteX2" fmla="*/ 8773665 w 10264614"/>
              <a:gd name="connsiteY2" fmla="*/ 11313204 h 11313204"/>
              <a:gd name="connsiteX3" fmla="*/ 28673 w 10264614"/>
              <a:gd name="connsiteY3" fmla="*/ 11313204 h 11313204"/>
              <a:gd name="connsiteX4" fmla="*/ 0 w 10264614"/>
              <a:gd name="connsiteY4" fmla="*/ 0 h 11313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64614" h="11313204">
                <a:moveTo>
                  <a:pt x="0" y="0"/>
                </a:moveTo>
                <a:lnTo>
                  <a:pt x="10264614" y="0"/>
                </a:lnTo>
                <a:lnTo>
                  <a:pt x="8773665" y="11313204"/>
                </a:lnTo>
                <a:lnTo>
                  <a:pt x="28673" y="11313204"/>
                </a:lnTo>
                <a:cubicBezTo>
                  <a:pt x="23894" y="7532601"/>
                  <a:pt x="19116" y="37519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652250" y="3902075"/>
            <a:ext cx="7543800" cy="4308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52250" y="23018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id="{61349B90-90A2-4E37-A9D1-43A4E221C2B1}"/>
              </a:ext>
            </a:extLst>
          </p:cNvPr>
          <p:cNvSpPr/>
          <p:nvPr userDrawn="1"/>
        </p:nvSpPr>
        <p:spPr>
          <a:xfrm>
            <a:off x="0" y="0"/>
            <a:ext cx="3398421" cy="2675293"/>
          </a:xfrm>
          <a:custGeom>
            <a:avLst/>
            <a:gdLst/>
            <a:ahLst/>
            <a:cxnLst/>
            <a:rect l="l" t="t" r="r" b="b"/>
            <a:pathLst>
              <a:path w="4649470" h="3660140">
                <a:moveTo>
                  <a:pt x="4013500" y="0"/>
                </a:moveTo>
                <a:lnTo>
                  <a:pt x="0" y="0"/>
                </a:lnTo>
                <a:lnTo>
                  <a:pt x="0" y="3660108"/>
                </a:lnTo>
                <a:lnTo>
                  <a:pt x="4649125" y="2457768"/>
                </a:lnTo>
                <a:lnTo>
                  <a:pt x="4013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80A24CF-B1E3-4D28-9ED7-0559D1777BA6}"/>
              </a:ext>
            </a:extLst>
          </p:cNvPr>
          <p:cNvSpPr/>
          <p:nvPr userDrawn="1"/>
        </p:nvSpPr>
        <p:spPr>
          <a:xfrm rot="5858031">
            <a:off x="6898119" y="3379213"/>
            <a:ext cx="7174683" cy="296097"/>
          </a:xfrm>
          <a:custGeom>
            <a:avLst/>
            <a:gdLst>
              <a:gd name="connsiteX0" fmla="*/ 39686 w 7174683"/>
              <a:gd name="connsiteY0" fmla="*/ 296097 h 296097"/>
              <a:gd name="connsiteX1" fmla="*/ 0 w 7174683"/>
              <a:gd name="connsiteY1" fmla="*/ 0 h 296097"/>
              <a:gd name="connsiteX2" fmla="*/ 7174683 w 7174683"/>
              <a:gd name="connsiteY2" fmla="*/ 0 h 296097"/>
              <a:gd name="connsiteX3" fmla="*/ 7174683 w 7174683"/>
              <a:gd name="connsiteY3" fmla="*/ 296097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4683" h="296097">
                <a:moveTo>
                  <a:pt x="39686" y="296097"/>
                </a:moveTo>
                <a:lnTo>
                  <a:pt x="0" y="0"/>
                </a:lnTo>
                <a:lnTo>
                  <a:pt x="7174683" y="0"/>
                </a:lnTo>
                <a:lnTo>
                  <a:pt x="7174683" y="296097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136217C-C78A-4497-AA68-F9A0308A0F97}"/>
              </a:ext>
            </a:extLst>
          </p:cNvPr>
          <p:cNvSpPr/>
          <p:nvPr userDrawn="1"/>
        </p:nvSpPr>
        <p:spPr>
          <a:xfrm rot="5858031">
            <a:off x="5241595" y="4436205"/>
            <a:ext cx="9290176" cy="296097"/>
          </a:xfrm>
          <a:custGeom>
            <a:avLst/>
            <a:gdLst>
              <a:gd name="connsiteX0" fmla="*/ 39686 w 9290176"/>
              <a:gd name="connsiteY0" fmla="*/ 296097 h 296097"/>
              <a:gd name="connsiteX1" fmla="*/ 0 w 9290176"/>
              <a:gd name="connsiteY1" fmla="*/ 1 h 296097"/>
              <a:gd name="connsiteX2" fmla="*/ 9290176 w 9290176"/>
              <a:gd name="connsiteY2" fmla="*/ 0 h 296097"/>
              <a:gd name="connsiteX3" fmla="*/ 9290176 w 9290176"/>
              <a:gd name="connsiteY3" fmla="*/ 296097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90176" h="296097">
                <a:moveTo>
                  <a:pt x="39686" y="296097"/>
                </a:moveTo>
                <a:lnTo>
                  <a:pt x="0" y="1"/>
                </a:lnTo>
                <a:lnTo>
                  <a:pt x="9290176" y="0"/>
                </a:lnTo>
                <a:lnTo>
                  <a:pt x="9290176" y="296097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2C22DF0-2753-E5E2-982B-3344BAAFD6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409" y="755940"/>
            <a:ext cx="2391223" cy="9440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44846" y="3216275"/>
            <a:ext cx="8646433" cy="3447098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endParaRPr lang="en-GB"/>
          </a:p>
          <a:p>
            <a:pPr lvl="0"/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0EF20D-2987-1C51-4957-22A6425FE7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811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174BBD6-748E-418F-A8BB-67D528811D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48806" y="2840308"/>
            <a:ext cx="7543800" cy="754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7B71BF-A0CA-76E8-CA10-B8A3B6D8D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93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8">
            <a:extLst>
              <a:ext uri="{FF2B5EF4-FFF2-40B4-BE49-F238E27FC236}">
                <a16:creationId xmlns:a16="http://schemas.microsoft.com/office/drawing/2014/main" id="{E4242377-5891-43EB-88F2-BE68C3E582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43E03-ECFC-4388-A292-418208DB66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42031" y="3181255"/>
            <a:ext cx="10972800" cy="6816820"/>
          </a:xfrm>
          <a:prstGeom prst="roundRect">
            <a:avLst>
              <a:gd name="adj" fmla="val 7179"/>
            </a:avLst>
          </a:prstGeom>
          <a:noFill/>
        </p:spPr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9288A5-3699-EDFD-E08C-C98E15B0D2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2959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grpSp>
        <p:nvGrpSpPr>
          <p:cNvPr id="8" name="object 6">
            <a:extLst>
              <a:ext uri="{FF2B5EF4-FFF2-40B4-BE49-F238E27FC236}">
                <a16:creationId xmlns:a16="http://schemas.microsoft.com/office/drawing/2014/main" id="{F77C4504-717D-4837-8879-1E6683E22B3C}"/>
              </a:ext>
            </a:extLst>
          </p:cNvPr>
          <p:cNvGrpSpPr/>
          <p:nvPr userDrawn="1"/>
        </p:nvGrpSpPr>
        <p:grpSpPr>
          <a:xfrm>
            <a:off x="8729980" y="-4013"/>
            <a:ext cx="11374120" cy="11308715"/>
            <a:chOff x="8730470" y="0"/>
            <a:chExt cx="11374120" cy="11308715"/>
          </a:xfrm>
        </p:grpSpPr>
        <p:pic>
          <p:nvPicPr>
            <p:cNvPr id="9" name="object 7">
              <a:extLst>
                <a:ext uri="{FF2B5EF4-FFF2-40B4-BE49-F238E27FC236}">
                  <a16:creationId xmlns:a16="http://schemas.microsoft.com/office/drawing/2014/main" id="{2C70E5DC-B9A9-4C97-9E4F-7B366A1E4FA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085572" y="376952"/>
              <a:ext cx="1620107" cy="1624055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id="{1CF451FA-151D-461B-8412-85A7A77F9C75}"/>
                </a:ext>
              </a:extLst>
            </p:cNvPr>
            <p:cNvSpPr/>
            <p:nvPr/>
          </p:nvSpPr>
          <p:spPr>
            <a:xfrm>
              <a:off x="8730470" y="0"/>
              <a:ext cx="11374120" cy="11308715"/>
            </a:xfrm>
            <a:custGeom>
              <a:avLst/>
              <a:gdLst/>
              <a:ahLst/>
              <a:cxnLst/>
              <a:rect l="l" t="t" r="r" b="b"/>
              <a:pathLst>
                <a:path w="11374119" h="11308715">
                  <a:moveTo>
                    <a:pt x="11373622" y="0"/>
                  </a:moveTo>
                  <a:lnTo>
                    <a:pt x="1438626" y="0"/>
                  </a:lnTo>
                  <a:lnTo>
                    <a:pt x="0" y="11308556"/>
                  </a:lnTo>
                  <a:lnTo>
                    <a:pt x="11373622" y="11308556"/>
                  </a:lnTo>
                  <a:lnTo>
                    <a:pt x="1137362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45397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(with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F759DD16-F627-ED25-C0C9-0D6D34AEFC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40D1306-286B-D86B-C6B5-BC2A0E54B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9847"/>
            <a:ext cx="8431681" cy="5227011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719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4A8F2DB-B148-88A1-2854-99FF5E6E5E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6399155"/>
            <a:ext cx="8431681" cy="1033768"/>
          </a:xfrm>
        </p:spPr>
        <p:txBody>
          <a:bodyPr>
            <a:normAutofit/>
          </a:bodyPr>
          <a:lstStyle>
            <a:lvl1pPr marL="0" indent="0">
              <a:buNone/>
              <a:defRPr sz="4617" b="0">
                <a:solidFill>
                  <a:srgbClr val="47D985"/>
                </a:solidFill>
              </a:defRPr>
            </a:lvl1pPr>
          </a:lstStyle>
          <a:p>
            <a:pPr lvl="0"/>
            <a:r>
              <a:rPr lang="en-GB"/>
              <a:t>25.08.2022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AB5E7E1-25E5-E81B-80F1-16B46ADD72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736169" y="0"/>
            <a:ext cx="9367932" cy="11313773"/>
          </a:xfrm>
          <a:custGeom>
            <a:avLst/>
            <a:gdLst>
              <a:gd name="connsiteX0" fmla="*/ 1792436 w 5681121"/>
              <a:gd name="connsiteY0" fmla="*/ 0 h 6860682"/>
              <a:gd name="connsiteX1" fmla="*/ 2607541 w 5681121"/>
              <a:gd name="connsiteY1" fmla="*/ 0 h 6860682"/>
              <a:gd name="connsiteX2" fmla="*/ 2321681 w 5681121"/>
              <a:gd name="connsiteY2" fmla="*/ 154750 h 6860682"/>
              <a:gd name="connsiteX3" fmla="*/ 425552 w 5681121"/>
              <a:gd name="connsiteY3" fmla="*/ 3013901 h 6860682"/>
              <a:gd name="connsiteX4" fmla="*/ 2076495 w 5681121"/>
              <a:gd name="connsiteY4" fmla="*/ 6858000 h 6860682"/>
              <a:gd name="connsiteX5" fmla="*/ 2432852 w 5681121"/>
              <a:gd name="connsiteY5" fmla="*/ 6858000 h 6860682"/>
              <a:gd name="connsiteX6" fmla="*/ 1106412 w 5681121"/>
              <a:gd name="connsiteY6" fmla="*/ 5293106 h 6860682"/>
              <a:gd name="connsiteX7" fmla="*/ 1023986 w 5681121"/>
              <a:gd name="connsiteY7" fmla="*/ 2390775 h 6860682"/>
              <a:gd name="connsiteX8" fmla="*/ 2893654 w 5681121"/>
              <a:gd name="connsiteY8" fmla="*/ 180594 h 6860682"/>
              <a:gd name="connsiteX9" fmla="*/ 3293858 w 5681121"/>
              <a:gd name="connsiteY9" fmla="*/ 0 h 6860682"/>
              <a:gd name="connsiteX10" fmla="*/ 5681121 w 5681121"/>
              <a:gd name="connsiteY10" fmla="*/ 0 h 6860682"/>
              <a:gd name="connsiteX11" fmla="*/ 5681121 w 5681121"/>
              <a:gd name="connsiteY11" fmla="*/ 6860682 h 6860682"/>
              <a:gd name="connsiteX12" fmla="*/ 1585041 w 5681121"/>
              <a:gd name="connsiteY12" fmla="*/ 6860682 h 6860682"/>
              <a:gd name="connsiteX13" fmla="*/ 243389 w 5681121"/>
              <a:gd name="connsiteY13" fmla="*/ 5161393 h 6860682"/>
              <a:gd name="connsiteX14" fmla="*/ 1792436 w 5681121"/>
              <a:gd name="connsiteY14" fmla="*/ 0 h 686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681121" h="6860682">
                <a:moveTo>
                  <a:pt x="1792436" y="0"/>
                </a:moveTo>
                <a:lnTo>
                  <a:pt x="2607541" y="0"/>
                </a:lnTo>
                <a:cubicBezTo>
                  <a:pt x="2510774" y="47498"/>
                  <a:pt x="2415402" y="99124"/>
                  <a:pt x="2321681" y="154750"/>
                </a:cubicBezTo>
                <a:cubicBezTo>
                  <a:pt x="1288842" y="768668"/>
                  <a:pt x="597702" y="1810830"/>
                  <a:pt x="425552" y="3013901"/>
                </a:cubicBezTo>
                <a:cubicBezTo>
                  <a:pt x="204732" y="4511612"/>
                  <a:pt x="884704" y="6005132"/>
                  <a:pt x="2076495" y="6858000"/>
                </a:cubicBezTo>
                <a:lnTo>
                  <a:pt x="2432852" y="6858000"/>
                </a:lnTo>
                <a:cubicBezTo>
                  <a:pt x="1849901" y="6480620"/>
                  <a:pt x="1391257" y="5943664"/>
                  <a:pt x="1106412" y="5293106"/>
                </a:cubicBezTo>
                <a:cubicBezTo>
                  <a:pt x="712427" y="4393375"/>
                  <a:pt x="683175" y="3362643"/>
                  <a:pt x="1023986" y="2390775"/>
                </a:cubicBezTo>
                <a:cubicBezTo>
                  <a:pt x="1363971" y="1420940"/>
                  <a:pt x="2027382" y="635699"/>
                  <a:pt x="2893654" y="180594"/>
                </a:cubicBezTo>
                <a:cubicBezTo>
                  <a:pt x="3024433" y="111760"/>
                  <a:pt x="3158003" y="51562"/>
                  <a:pt x="3293858" y="0"/>
                </a:cubicBezTo>
                <a:lnTo>
                  <a:pt x="5681121" y="0"/>
                </a:lnTo>
                <a:lnTo>
                  <a:pt x="5681121" y="6860682"/>
                </a:lnTo>
                <a:lnTo>
                  <a:pt x="1585041" y="6860682"/>
                </a:lnTo>
                <a:cubicBezTo>
                  <a:pt x="976954" y="6494907"/>
                  <a:pt x="492377" y="5932458"/>
                  <a:pt x="243389" y="5161393"/>
                </a:cubicBezTo>
                <a:cubicBezTo>
                  <a:pt x="-352570" y="3349919"/>
                  <a:pt x="139246" y="1030182"/>
                  <a:pt x="1792436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3" name="Graphic 77">
            <a:extLst>
              <a:ext uri="{FF2B5EF4-FFF2-40B4-BE49-F238E27FC236}">
                <a16:creationId xmlns:a16="http://schemas.microsoft.com/office/drawing/2014/main" id="{9F893BB0-7DF6-1882-0B79-6A8826A213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6354" y="8054103"/>
            <a:ext cx="4203553" cy="1538843"/>
            <a:chOff x="4489439" y="2838428"/>
            <a:chExt cx="3217768" cy="1177883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E151A0C-A34C-2591-5887-5019D4E2FB9A}"/>
                </a:ext>
              </a:extLst>
            </p:cNvPr>
            <p:cNvSpPr/>
            <p:nvPr/>
          </p:nvSpPr>
          <p:spPr>
            <a:xfrm>
              <a:off x="4489439" y="2838428"/>
              <a:ext cx="3217388" cy="1177883"/>
            </a:xfrm>
            <a:custGeom>
              <a:avLst/>
              <a:gdLst>
                <a:gd name="connsiteX0" fmla="*/ 1527089 w 3217388"/>
                <a:gd name="connsiteY0" fmla="*/ 295107 h 1177883"/>
                <a:gd name="connsiteX1" fmla="*/ 1705520 w 3217388"/>
                <a:gd name="connsiteY1" fmla="*/ 295107 h 1177883"/>
                <a:gd name="connsiteX2" fmla="*/ 1705520 w 3217388"/>
                <a:gd name="connsiteY2" fmla="*/ 947283 h 1177883"/>
                <a:gd name="connsiteX3" fmla="*/ 1527089 w 3217388"/>
                <a:gd name="connsiteY3" fmla="*/ 947283 h 1177883"/>
                <a:gd name="connsiteX4" fmla="*/ 1527089 w 3217388"/>
                <a:gd name="connsiteY4" fmla="*/ 295107 h 1177883"/>
                <a:gd name="connsiteX5" fmla="*/ 2318481 w 3217388"/>
                <a:gd name="connsiteY5" fmla="*/ 4403 h 1177883"/>
                <a:gd name="connsiteX6" fmla="*/ 2318481 w 3217388"/>
                <a:gd name="connsiteY6" fmla="*/ 386070 h 1177883"/>
                <a:gd name="connsiteX7" fmla="*/ 2100884 w 3217388"/>
                <a:gd name="connsiteY7" fmla="*/ 274533 h 1177883"/>
                <a:gd name="connsiteX8" fmla="*/ 1939848 w 3217388"/>
                <a:gd name="connsiteY8" fmla="*/ 318919 h 1177883"/>
                <a:gd name="connsiteX9" fmla="*/ 1819785 w 3217388"/>
                <a:gd name="connsiteY9" fmla="*/ 441792 h 1177883"/>
                <a:gd name="connsiteX10" fmla="*/ 1776817 w 3217388"/>
                <a:gd name="connsiteY10" fmla="*/ 620576 h 1177883"/>
                <a:gd name="connsiteX11" fmla="*/ 1819785 w 3217388"/>
                <a:gd name="connsiteY11" fmla="*/ 800027 h 1177883"/>
                <a:gd name="connsiteX12" fmla="*/ 1940419 w 3217388"/>
                <a:gd name="connsiteY12" fmla="*/ 922899 h 1177883"/>
                <a:gd name="connsiteX13" fmla="*/ 2111816 w 3217388"/>
                <a:gd name="connsiteY13" fmla="*/ 966619 h 1177883"/>
                <a:gd name="connsiteX14" fmla="*/ 2318481 w 3217388"/>
                <a:gd name="connsiteY14" fmla="*/ 864606 h 1177883"/>
                <a:gd name="connsiteX15" fmla="*/ 2318481 w 3217388"/>
                <a:gd name="connsiteY15" fmla="*/ 947283 h 1177883"/>
                <a:gd name="connsiteX16" fmla="*/ 2496913 w 3217388"/>
                <a:gd name="connsiteY16" fmla="*/ 947283 h 1177883"/>
                <a:gd name="connsiteX17" fmla="*/ 2496913 w 3217388"/>
                <a:gd name="connsiteY17" fmla="*/ 4403 h 1177883"/>
                <a:gd name="connsiteX18" fmla="*/ 2318481 w 3217388"/>
                <a:gd name="connsiteY18" fmla="*/ 4403 h 1177883"/>
                <a:gd name="connsiteX19" fmla="*/ 2146323 w 3217388"/>
                <a:gd name="connsiteY19" fmla="*/ 813648 h 1177883"/>
                <a:gd name="connsiteX20" fmla="*/ 1957815 w 3217388"/>
                <a:gd name="connsiteY20" fmla="*/ 620576 h 1177883"/>
                <a:gd name="connsiteX21" fmla="*/ 2146323 w 3217388"/>
                <a:gd name="connsiteY21" fmla="*/ 427504 h 1177883"/>
                <a:gd name="connsiteX22" fmla="*/ 2334832 w 3217388"/>
                <a:gd name="connsiteY22" fmla="*/ 620576 h 1177883"/>
                <a:gd name="connsiteX23" fmla="*/ 2146323 w 3217388"/>
                <a:gd name="connsiteY23" fmla="*/ 813648 h 1177883"/>
                <a:gd name="connsiteX24" fmla="*/ 3186113 w 3217388"/>
                <a:gd name="connsiteY24" fmla="*/ 403787 h 1177883"/>
                <a:gd name="connsiteX25" fmla="*/ 3097515 w 3217388"/>
                <a:gd name="connsiteY25" fmla="*/ 307298 h 1177883"/>
                <a:gd name="connsiteX26" fmla="*/ 2959485 w 3217388"/>
                <a:gd name="connsiteY26" fmla="*/ 274533 h 1177883"/>
                <a:gd name="connsiteX27" fmla="*/ 2759189 w 3217388"/>
                <a:gd name="connsiteY27" fmla="*/ 385975 h 1177883"/>
                <a:gd name="connsiteX28" fmla="*/ 2759189 w 3217388"/>
                <a:gd name="connsiteY28" fmla="*/ 4403 h 1177883"/>
                <a:gd name="connsiteX29" fmla="*/ 2580567 w 3217388"/>
                <a:gd name="connsiteY29" fmla="*/ 4403 h 1177883"/>
                <a:gd name="connsiteX30" fmla="*/ 2580567 w 3217388"/>
                <a:gd name="connsiteY30" fmla="*/ 947283 h 1177883"/>
                <a:gd name="connsiteX31" fmla="*/ 2759094 w 3217388"/>
                <a:gd name="connsiteY31" fmla="*/ 947283 h 1177883"/>
                <a:gd name="connsiteX32" fmla="*/ 2759094 w 3217388"/>
                <a:gd name="connsiteY32" fmla="*/ 598097 h 1177883"/>
                <a:gd name="connsiteX33" fmla="*/ 2902162 w 3217388"/>
                <a:gd name="connsiteY33" fmla="*/ 429219 h 1177883"/>
                <a:gd name="connsiteX34" fmla="*/ 3038957 w 3217388"/>
                <a:gd name="connsiteY34" fmla="*/ 598097 h 1177883"/>
                <a:gd name="connsiteX35" fmla="*/ 3038957 w 3217388"/>
                <a:gd name="connsiteY35" fmla="*/ 947283 h 1177883"/>
                <a:gd name="connsiteX36" fmla="*/ 3217388 w 3217388"/>
                <a:gd name="connsiteY36" fmla="*/ 947283 h 1177883"/>
                <a:gd name="connsiteX37" fmla="*/ 3217388 w 3217388"/>
                <a:gd name="connsiteY37" fmla="*/ 560092 h 1177883"/>
                <a:gd name="connsiteX38" fmla="*/ 3185923 w 3217388"/>
                <a:gd name="connsiteY38" fmla="*/ 403787 h 1177883"/>
                <a:gd name="connsiteX39" fmla="*/ 1731282 w 3217388"/>
                <a:gd name="connsiteY39" fmla="*/ 100701 h 1177883"/>
                <a:gd name="connsiteX40" fmla="*/ 1615972 w 3217388"/>
                <a:gd name="connsiteY40" fmla="*/ 216906 h 1177883"/>
                <a:gd name="connsiteX41" fmla="*/ 1507221 w 3217388"/>
                <a:gd name="connsiteY41" fmla="*/ 156803 h 1177883"/>
                <a:gd name="connsiteX42" fmla="*/ 1560836 w 3217388"/>
                <a:gd name="connsiteY42" fmla="*/ 8499 h 1177883"/>
                <a:gd name="connsiteX43" fmla="*/ 1731187 w 3217388"/>
                <a:gd name="connsiteY43" fmla="*/ 100606 h 1177883"/>
                <a:gd name="connsiteX44" fmla="*/ 1731187 w 3217388"/>
                <a:gd name="connsiteY44" fmla="*/ 100606 h 1177883"/>
                <a:gd name="connsiteX45" fmla="*/ 243274 w 3217388"/>
                <a:gd name="connsiteY45" fmla="*/ 1020912 h 1177883"/>
                <a:gd name="connsiteX46" fmla="*/ 250974 w 3217388"/>
                <a:gd name="connsiteY46" fmla="*/ 1046439 h 1177883"/>
                <a:gd name="connsiteX47" fmla="*/ 217798 w 3217388"/>
                <a:gd name="connsiteY47" fmla="*/ 1047010 h 1177883"/>
                <a:gd name="connsiteX48" fmla="*/ 198975 w 3217388"/>
                <a:gd name="connsiteY48" fmla="*/ 1012625 h 1177883"/>
                <a:gd name="connsiteX49" fmla="*/ 243274 w 3217388"/>
                <a:gd name="connsiteY49" fmla="*/ 1020912 h 1177883"/>
                <a:gd name="connsiteX50" fmla="*/ 848820 w 3217388"/>
                <a:gd name="connsiteY50" fmla="*/ 564283 h 1177883"/>
                <a:gd name="connsiteX51" fmla="*/ 826290 w 3217388"/>
                <a:gd name="connsiteY51" fmla="*/ 650103 h 1177883"/>
                <a:gd name="connsiteX52" fmla="*/ 712121 w 3217388"/>
                <a:gd name="connsiteY52" fmla="*/ 716302 h 1177883"/>
                <a:gd name="connsiteX53" fmla="*/ 683507 w 3217388"/>
                <a:gd name="connsiteY53" fmla="*/ 719255 h 1177883"/>
                <a:gd name="connsiteX54" fmla="*/ 564489 w 3217388"/>
                <a:gd name="connsiteY54" fmla="*/ 646103 h 1177883"/>
                <a:gd name="connsiteX55" fmla="*/ 631223 w 3217388"/>
                <a:gd name="connsiteY55" fmla="*/ 446173 h 1177883"/>
                <a:gd name="connsiteX56" fmla="*/ 765451 w 3217388"/>
                <a:gd name="connsiteY56" fmla="*/ 454841 h 1177883"/>
                <a:gd name="connsiteX57" fmla="*/ 848915 w 3217388"/>
                <a:gd name="connsiteY57" fmla="*/ 563997 h 1177883"/>
                <a:gd name="connsiteX58" fmla="*/ 848915 w 3217388"/>
                <a:gd name="connsiteY58" fmla="*/ 564188 h 1177883"/>
                <a:gd name="connsiteX59" fmla="*/ 808039 w 3217388"/>
                <a:gd name="connsiteY59" fmla="*/ 570760 h 1177883"/>
                <a:gd name="connsiteX60" fmla="*/ 718680 w 3217388"/>
                <a:gd name="connsiteY60" fmla="*/ 484749 h 1177883"/>
                <a:gd name="connsiteX61" fmla="*/ 692158 w 3217388"/>
                <a:gd name="connsiteY61" fmla="*/ 481511 h 1177883"/>
                <a:gd name="connsiteX62" fmla="*/ 624759 w 3217388"/>
                <a:gd name="connsiteY62" fmla="*/ 514182 h 1177883"/>
                <a:gd name="connsiteX63" fmla="*/ 612211 w 3217388"/>
                <a:gd name="connsiteY63" fmla="*/ 626291 h 1177883"/>
                <a:gd name="connsiteX64" fmla="*/ 684933 w 3217388"/>
                <a:gd name="connsiteY64" fmla="*/ 671058 h 1177883"/>
                <a:gd name="connsiteX65" fmla="*/ 788076 w 3217388"/>
                <a:gd name="connsiteY65" fmla="*/ 630006 h 1177883"/>
                <a:gd name="connsiteX66" fmla="*/ 807943 w 3217388"/>
                <a:gd name="connsiteY66" fmla="*/ 570665 h 1177883"/>
                <a:gd name="connsiteX67" fmla="*/ 893024 w 3217388"/>
                <a:gd name="connsiteY67" fmla="*/ 502656 h 1177883"/>
                <a:gd name="connsiteX68" fmla="*/ 838173 w 3217388"/>
                <a:gd name="connsiteY68" fmla="*/ 782977 h 1177883"/>
                <a:gd name="connsiteX69" fmla="*/ 677043 w 3217388"/>
                <a:gd name="connsiteY69" fmla="*/ 846414 h 1177883"/>
                <a:gd name="connsiteX70" fmla="*/ 622097 w 3217388"/>
                <a:gd name="connsiteY70" fmla="*/ 840508 h 1177883"/>
                <a:gd name="connsiteX71" fmla="*/ 418569 w 3217388"/>
                <a:gd name="connsiteY71" fmla="*/ 675059 h 1177883"/>
                <a:gd name="connsiteX72" fmla="*/ 419710 w 3217388"/>
                <a:gd name="connsiteY72" fmla="*/ 475224 h 1177883"/>
                <a:gd name="connsiteX73" fmla="*/ 569147 w 3217388"/>
                <a:gd name="connsiteY73" fmla="*/ 334254 h 1177883"/>
                <a:gd name="connsiteX74" fmla="*/ 753663 w 3217388"/>
                <a:gd name="connsiteY74" fmla="*/ 342922 h 1177883"/>
                <a:gd name="connsiteX75" fmla="*/ 893024 w 3217388"/>
                <a:gd name="connsiteY75" fmla="*/ 502561 h 1177883"/>
                <a:gd name="connsiteX76" fmla="*/ 880381 w 3217388"/>
                <a:gd name="connsiteY76" fmla="*/ 507323 h 1177883"/>
                <a:gd name="connsiteX77" fmla="*/ 880381 w 3217388"/>
                <a:gd name="connsiteY77" fmla="*/ 507323 h 1177883"/>
                <a:gd name="connsiteX78" fmla="*/ 670198 w 3217388"/>
                <a:gd name="connsiteY78" fmla="*/ 370449 h 1177883"/>
                <a:gd name="connsiteX79" fmla="*/ 669153 w 3217388"/>
                <a:gd name="connsiteY79" fmla="*/ 370449 h 1177883"/>
                <a:gd name="connsiteX80" fmla="*/ 485588 w 3217388"/>
                <a:gd name="connsiteY80" fmla="*/ 460746 h 1177883"/>
                <a:gd name="connsiteX81" fmla="*/ 448704 w 3217388"/>
                <a:gd name="connsiteY81" fmla="*/ 664391 h 1177883"/>
                <a:gd name="connsiteX82" fmla="*/ 557170 w 3217388"/>
                <a:gd name="connsiteY82" fmla="*/ 793264 h 1177883"/>
                <a:gd name="connsiteX83" fmla="*/ 734270 w 3217388"/>
                <a:gd name="connsiteY83" fmla="*/ 794121 h 1177883"/>
                <a:gd name="connsiteX84" fmla="*/ 880381 w 3217388"/>
                <a:gd name="connsiteY84" fmla="*/ 507419 h 1177883"/>
                <a:gd name="connsiteX85" fmla="*/ 634645 w 3217388"/>
                <a:gd name="connsiteY85" fmla="*/ 996051 h 1177883"/>
                <a:gd name="connsiteX86" fmla="*/ 488535 w 3217388"/>
                <a:gd name="connsiteY86" fmla="*/ 966524 h 1177883"/>
                <a:gd name="connsiteX87" fmla="*/ 255062 w 3217388"/>
                <a:gd name="connsiteY87" fmla="*/ 426742 h 1177883"/>
                <a:gd name="connsiteX88" fmla="*/ 580460 w 3217388"/>
                <a:gd name="connsiteY88" fmla="*/ 157280 h 1177883"/>
                <a:gd name="connsiteX89" fmla="*/ 969359 w 3217388"/>
                <a:gd name="connsiteY89" fmla="*/ 317490 h 1177883"/>
                <a:gd name="connsiteX90" fmla="*/ 1014704 w 3217388"/>
                <a:gd name="connsiteY90" fmla="*/ 721255 h 1177883"/>
                <a:gd name="connsiteX91" fmla="*/ 785129 w 3217388"/>
                <a:gd name="connsiteY91" fmla="*/ 964714 h 1177883"/>
                <a:gd name="connsiteX92" fmla="*/ 634645 w 3217388"/>
                <a:gd name="connsiteY92" fmla="*/ 996051 h 1177883"/>
                <a:gd name="connsiteX93" fmla="*/ 1002631 w 3217388"/>
                <a:gd name="connsiteY93" fmla="*/ 716493 h 1177883"/>
                <a:gd name="connsiteX94" fmla="*/ 945593 w 3217388"/>
                <a:gd name="connsiteY94" fmla="*/ 359496 h 1177883"/>
                <a:gd name="connsiteX95" fmla="*/ 637212 w 3217388"/>
                <a:gd name="connsiteY95" fmla="*/ 204333 h 1177883"/>
                <a:gd name="connsiteX96" fmla="*/ 590156 w 3217388"/>
                <a:gd name="connsiteY96" fmla="*/ 207191 h 1177883"/>
                <a:gd name="connsiteX97" fmla="*/ 284151 w 3217388"/>
                <a:gd name="connsiteY97" fmla="*/ 438077 h 1177883"/>
                <a:gd name="connsiteX98" fmla="*/ 376456 w 3217388"/>
                <a:gd name="connsiteY98" fmla="*/ 851748 h 1177883"/>
                <a:gd name="connsiteX99" fmla="*/ 744632 w 3217388"/>
                <a:gd name="connsiteY99" fmla="*/ 937568 h 1177883"/>
                <a:gd name="connsiteX100" fmla="*/ 1002536 w 3217388"/>
                <a:gd name="connsiteY100" fmla="*/ 716493 h 1177883"/>
                <a:gd name="connsiteX101" fmla="*/ 1002536 w 3217388"/>
                <a:gd name="connsiteY101" fmla="*/ 716493 h 1177883"/>
                <a:gd name="connsiteX102" fmla="*/ 43834 w 3217388"/>
                <a:gd name="connsiteY102" fmla="*/ 569617 h 1177883"/>
                <a:gd name="connsiteX103" fmla="*/ 240328 w 3217388"/>
                <a:gd name="connsiteY103" fmla="*/ 192998 h 1177883"/>
                <a:gd name="connsiteX104" fmla="*/ 636451 w 3217388"/>
                <a:gd name="connsiteY104" fmla="*/ 44408 h 1177883"/>
                <a:gd name="connsiteX105" fmla="*/ 1012897 w 3217388"/>
                <a:gd name="connsiteY105" fmla="*/ 220240 h 1177883"/>
                <a:gd name="connsiteX106" fmla="*/ 1019742 w 3217388"/>
                <a:gd name="connsiteY106" fmla="*/ 223955 h 1177883"/>
                <a:gd name="connsiteX107" fmla="*/ 1027537 w 3217388"/>
                <a:gd name="connsiteY107" fmla="*/ 221288 h 1177883"/>
                <a:gd name="connsiteX108" fmla="*/ 1030674 w 3217388"/>
                <a:gd name="connsiteY108" fmla="*/ 213668 h 1177883"/>
                <a:gd name="connsiteX109" fmla="*/ 1027822 w 3217388"/>
                <a:gd name="connsiteY109" fmla="*/ 206905 h 1177883"/>
                <a:gd name="connsiteX110" fmla="*/ 565345 w 3217388"/>
                <a:gd name="connsiteY110" fmla="*/ 212 h 1177883"/>
                <a:gd name="connsiteX111" fmla="*/ 119504 w 3217388"/>
                <a:gd name="connsiteY111" fmla="*/ 229765 h 1177883"/>
                <a:gd name="connsiteX112" fmla="*/ 148402 w 3217388"/>
                <a:gd name="connsiteY112" fmla="*/ 978049 h 1177883"/>
                <a:gd name="connsiteX113" fmla="*/ 152775 w 3217388"/>
                <a:gd name="connsiteY113" fmla="*/ 982907 h 1177883"/>
                <a:gd name="connsiteX114" fmla="*/ 155057 w 3217388"/>
                <a:gd name="connsiteY114" fmla="*/ 985383 h 1177883"/>
                <a:gd name="connsiteX115" fmla="*/ 156198 w 3217388"/>
                <a:gd name="connsiteY115" fmla="*/ 986050 h 1177883"/>
                <a:gd name="connsiteX116" fmla="*/ 162852 w 3217388"/>
                <a:gd name="connsiteY116" fmla="*/ 987860 h 1177883"/>
                <a:gd name="connsiteX117" fmla="*/ 166464 w 3217388"/>
                <a:gd name="connsiteY117" fmla="*/ 987384 h 1177883"/>
                <a:gd name="connsiteX118" fmla="*/ 173974 w 3217388"/>
                <a:gd name="connsiteY118" fmla="*/ 981383 h 1177883"/>
                <a:gd name="connsiteX119" fmla="*/ 172168 w 3217388"/>
                <a:gd name="connsiteY119" fmla="*/ 967191 h 1177883"/>
                <a:gd name="connsiteX120" fmla="*/ 43929 w 3217388"/>
                <a:gd name="connsiteY120" fmla="*/ 569712 h 1177883"/>
                <a:gd name="connsiteX121" fmla="*/ 1172032 w 3217388"/>
                <a:gd name="connsiteY121" fmla="*/ 561997 h 1177883"/>
                <a:gd name="connsiteX122" fmla="*/ 1171651 w 3217388"/>
                <a:gd name="connsiteY122" fmla="*/ 559902 h 1177883"/>
                <a:gd name="connsiteX123" fmla="*/ 1159578 w 3217388"/>
                <a:gd name="connsiteY123" fmla="*/ 550853 h 1177883"/>
                <a:gd name="connsiteX124" fmla="*/ 1150738 w 3217388"/>
                <a:gd name="connsiteY124" fmla="*/ 555520 h 1177883"/>
                <a:gd name="connsiteX125" fmla="*/ 1148076 w 3217388"/>
                <a:gd name="connsiteY125" fmla="*/ 565521 h 1177883"/>
                <a:gd name="connsiteX126" fmla="*/ 1074403 w 3217388"/>
                <a:gd name="connsiteY126" fmla="*/ 861939 h 1177883"/>
                <a:gd name="connsiteX127" fmla="*/ 621241 w 3217388"/>
                <a:gd name="connsiteY127" fmla="*/ 1150642 h 1177883"/>
                <a:gd name="connsiteX128" fmla="*/ 609169 w 3217388"/>
                <a:gd name="connsiteY128" fmla="*/ 1165692 h 1177883"/>
                <a:gd name="connsiteX129" fmla="*/ 620481 w 3217388"/>
                <a:gd name="connsiteY129" fmla="*/ 1177693 h 1177883"/>
                <a:gd name="connsiteX130" fmla="*/ 621432 w 3217388"/>
                <a:gd name="connsiteY130" fmla="*/ 1177884 h 1177883"/>
                <a:gd name="connsiteX131" fmla="*/ 622382 w 3217388"/>
                <a:gd name="connsiteY131" fmla="*/ 1177884 h 1177883"/>
                <a:gd name="connsiteX132" fmla="*/ 664685 w 3217388"/>
                <a:gd name="connsiteY132" fmla="*/ 1174264 h 1177883"/>
                <a:gd name="connsiteX133" fmla="*/ 1045599 w 3217388"/>
                <a:gd name="connsiteY133" fmla="*/ 963285 h 1177883"/>
                <a:gd name="connsiteX134" fmla="*/ 1172032 w 3217388"/>
                <a:gd name="connsiteY134" fmla="*/ 561997 h 1177883"/>
                <a:gd name="connsiteX135" fmla="*/ 1170130 w 3217388"/>
                <a:gd name="connsiteY135" fmla="*/ 489226 h 1177883"/>
                <a:gd name="connsiteX136" fmla="*/ 1142657 w 3217388"/>
                <a:gd name="connsiteY136" fmla="*/ 363591 h 1177883"/>
                <a:gd name="connsiteX137" fmla="*/ 1115565 w 3217388"/>
                <a:gd name="connsiteY137" fmla="*/ 352923 h 1177883"/>
                <a:gd name="connsiteX138" fmla="*/ 1114804 w 3217388"/>
                <a:gd name="connsiteY138" fmla="*/ 389975 h 1177883"/>
                <a:gd name="connsiteX139" fmla="*/ 1145414 w 3217388"/>
                <a:gd name="connsiteY139" fmla="*/ 486559 h 1177883"/>
                <a:gd name="connsiteX140" fmla="*/ 1158913 w 3217388"/>
                <a:gd name="connsiteY140" fmla="*/ 501418 h 1177883"/>
                <a:gd name="connsiteX141" fmla="*/ 1170130 w 3217388"/>
                <a:gd name="connsiteY141" fmla="*/ 489321 h 117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3217388" h="1177883">
                  <a:moveTo>
                    <a:pt x="1527089" y="295107"/>
                  </a:moveTo>
                  <a:lnTo>
                    <a:pt x="1705520" y="295107"/>
                  </a:lnTo>
                  <a:lnTo>
                    <a:pt x="1705520" y="947283"/>
                  </a:lnTo>
                  <a:lnTo>
                    <a:pt x="1527089" y="947283"/>
                  </a:lnTo>
                  <a:lnTo>
                    <a:pt x="1527089" y="295107"/>
                  </a:lnTo>
                  <a:close/>
                  <a:moveTo>
                    <a:pt x="2318481" y="4403"/>
                  </a:moveTo>
                  <a:lnTo>
                    <a:pt x="2318481" y="386070"/>
                  </a:lnTo>
                  <a:cubicBezTo>
                    <a:pt x="2295095" y="345779"/>
                    <a:pt x="2216669" y="274533"/>
                    <a:pt x="2100884" y="274533"/>
                  </a:cubicBezTo>
                  <a:cubicBezTo>
                    <a:pt x="2046888" y="274533"/>
                    <a:pt x="1991182" y="289296"/>
                    <a:pt x="1939848" y="318919"/>
                  </a:cubicBezTo>
                  <a:cubicBezTo>
                    <a:pt x="1888515" y="348542"/>
                    <a:pt x="1848494" y="389499"/>
                    <a:pt x="1819785" y="441792"/>
                  </a:cubicBezTo>
                  <a:cubicBezTo>
                    <a:pt x="1791076" y="494084"/>
                    <a:pt x="1776817" y="553710"/>
                    <a:pt x="1776817" y="620576"/>
                  </a:cubicBezTo>
                  <a:cubicBezTo>
                    <a:pt x="1776817" y="687441"/>
                    <a:pt x="1791171" y="747258"/>
                    <a:pt x="1819785" y="800027"/>
                  </a:cubicBezTo>
                  <a:cubicBezTo>
                    <a:pt x="1848399" y="852795"/>
                    <a:pt x="1888705" y="893753"/>
                    <a:pt x="1940419" y="922899"/>
                  </a:cubicBezTo>
                  <a:cubicBezTo>
                    <a:pt x="1992228" y="952046"/>
                    <a:pt x="2048409" y="966619"/>
                    <a:pt x="2111816" y="966619"/>
                  </a:cubicBezTo>
                  <a:cubicBezTo>
                    <a:pt x="2223704" y="966619"/>
                    <a:pt x="2302605" y="899182"/>
                    <a:pt x="2318481" y="864606"/>
                  </a:cubicBezTo>
                  <a:lnTo>
                    <a:pt x="2318481" y="947283"/>
                  </a:lnTo>
                  <a:cubicBezTo>
                    <a:pt x="2318481" y="947283"/>
                    <a:pt x="2496913" y="947283"/>
                    <a:pt x="2496913" y="947283"/>
                  </a:cubicBezTo>
                  <a:lnTo>
                    <a:pt x="2496913" y="4403"/>
                  </a:lnTo>
                  <a:lnTo>
                    <a:pt x="2318481" y="4403"/>
                  </a:lnTo>
                  <a:close/>
                  <a:moveTo>
                    <a:pt x="2146323" y="813648"/>
                  </a:moveTo>
                  <a:cubicBezTo>
                    <a:pt x="2030633" y="813648"/>
                    <a:pt x="1957815" y="728304"/>
                    <a:pt x="1957815" y="620576"/>
                  </a:cubicBezTo>
                  <a:cubicBezTo>
                    <a:pt x="1957815" y="512848"/>
                    <a:pt x="2030252" y="427504"/>
                    <a:pt x="2146323" y="427504"/>
                  </a:cubicBezTo>
                  <a:cubicBezTo>
                    <a:pt x="2262394" y="427504"/>
                    <a:pt x="2334832" y="512848"/>
                    <a:pt x="2334832" y="620576"/>
                  </a:cubicBezTo>
                  <a:cubicBezTo>
                    <a:pt x="2334832" y="728304"/>
                    <a:pt x="2260398" y="813648"/>
                    <a:pt x="2146323" y="813648"/>
                  </a:cubicBezTo>
                  <a:close/>
                  <a:moveTo>
                    <a:pt x="3186113" y="403787"/>
                  </a:moveTo>
                  <a:cubicBezTo>
                    <a:pt x="3165104" y="361305"/>
                    <a:pt x="3135635" y="329206"/>
                    <a:pt x="3097515" y="307298"/>
                  </a:cubicBezTo>
                  <a:cubicBezTo>
                    <a:pt x="3059395" y="285391"/>
                    <a:pt x="3013480" y="274533"/>
                    <a:pt x="2959485" y="274533"/>
                  </a:cubicBezTo>
                  <a:cubicBezTo>
                    <a:pt x="2848832" y="274533"/>
                    <a:pt x="2777441" y="350351"/>
                    <a:pt x="2759189" y="385975"/>
                  </a:cubicBezTo>
                  <a:lnTo>
                    <a:pt x="2759189" y="4403"/>
                  </a:lnTo>
                  <a:lnTo>
                    <a:pt x="2580567" y="4403"/>
                  </a:lnTo>
                  <a:lnTo>
                    <a:pt x="2580567" y="947283"/>
                  </a:lnTo>
                  <a:lnTo>
                    <a:pt x="2759094" y="947283"/>
                  </a:lnTo>
                  <a:lnTo>
                    <a:pt x="2759094" y="598097"/>
                  </a:lnTo>
                  <a:cubicBezTo>
                    <a:pt x="2759094" y="495227"/>
                    <a:pt x="2816987" y="429219"/>
                    <a:pt x="2902162" y="429219"/>
                  </a:cubicBezTo>
                  <a:cubicBezTo>
                    <a:pt x="2947792" y="429219"/>
                    <a:pt x="3038957" y="462175"/>
                    <a:pt x="3038957" y="598097"/>
                  </a:cubicBezTo>
                  <a:lnTo>
                    <a:pt x="3038957" y="947283"/>
                  </a:lnTo>
                  <a:lnTo>
                    <a:pt x="3217388" y="947283"/>
                  </a:lnTo>
                  <a:lnTo>
                    <a:pt x="3217388" y="560092"/>
                  </a:lnTo>
                  <a:cubicBezTo>
                    <a:pt x="3217388" y="498370"/>
                    <a:pt x="3206932" y="446268"/>
                    <a:pt x="3185923" y="403787"/>
                  </a:cubicBezTo>
                  <a:close/>
                  <a:moveTo>
                    <a:pt x="1731282" y="100701"/>
                  </a:moveTo>
                  <a:cubicBezTo>
                    <a:pt x="1740503" y="166900"/>
                    <a:pt x="1673104" y="211667"/>
                    <a:pt x="1615972" y="216906"/>
                  </a:cubicBezTo>
                  <a:cubicBezTo>
                    <a:pt x="1570342" y="223193"/>
                    <a:pt x="1522621" y="204333"/>
                    <a:pt x="1507221" y="156803"/>
                  </a:cubicBezTo>
                  <a:cubicBezTo>
                    <a:pt x="1489539" y="102987"/>
                    <a:pt x="1506555" y="32978"/>
                    <a:pt x="1560836" y="8499"/>
                  </a:cubicBezTo>
                  <a:cubicBezTo>
                    <a:pt x="1627474" y="-20266"/>
                    <a:pt x="1718163" y="27359"/>
                    <a:pt x="1731187" y="100606"/>
                  </a:cubicBezTo>
                  <a:lnTo>
                    <a:pt x="1731187" y="100606"/>
                  </a:lnTo>
                  <a:close/>
                  <a:moveTo>
                    <a:pt x="243274" y="1020912"/>
                  </a:moveTo>
                  <a:cubicBezTo>
                    <a:pt x="251735" y="1025864"/>
                    <a:pt x="257819" y="1034437"/>
                    <a:pt x="250974" y="1046439"/>
                  </a:cubicBezTo>
                  <a:cubicBezTo>
                    <a:pt x="244130" y="1058440"/>
                    <a:pt x="225213" y="1053297"/>
                    <a:pt x="217798" y="1047010"/>
                  </a:cubicBezTo>
                  <a:cubicBezTo>
                    <a:pt x="206961" y="1037771"/>
                    <a:pt x="194793" y="1016816"/>
                    <a:pt x="198975" y="1012625"/>
                  </a:cubicBezTo>
                  <a:cubicBezTo>
                    <a:pt x="203158" y="1008434"/>
                    <a:pt x="234814" y="1015959"/>
                    <a:pt x="243274" y="1020912"/>
                  </a:cubicBezTo>
                  <a:close/>
                  <a:moveTo>
                    <a:pt x="848820" y="564283"/>
                  </a:moveTo>
                  <a:cubicBezTo>
                    <a:pt x="853383" y="594382"/>
                    <a:pt x="845588" y="624100"/>
                    <a:pt x="826290" y="650103"/>
                  </a:cubicBezTo>
                  <a:cubicBezTo>
                    <a:pt x="800814" y="684489"/>
                    <a:pt x="757085" y="709825"/>
                    <a:pt x="712121" y="716302"/>
                  </a:cubicBezTo>
                  <a:cubicBezTo>
                    <a:pt x="702900" y="718302"/>
                    <a:pt x="693299" y="719255"/>
                    <a:pt x="683507" y="719255"/>
                  </a:cubicBezTo>
                  <a:cubicBezTo>
                    <a:pt x="635406" y="719255"/>
                    <a:pt x="583692" y="695157"/>
                    <a:pt x="564489" y="646103"/>
                  </a:cubicBezTo>
                  <a:cubicBezTo>
                    <a:pt x="536161" y="577332"/>
                    <a:pt x="556219" y="480558"/>
                    <a:pt x="631223" y="446173"/>
                  </a:cubicBezTo>
                  <a:cubicBezTo>
                    <a:pt x="672955" y="428361"/>
                    <a:pt x="721912" y="431504"/>
                    <a:pt x="765451" y="454841"/>
                  </a:cubicBezTo>
                  <a:cubicBezTo>
                    <a:pt x="809750" y="478558"/>
                    <a:pt x="840170" y="518372"/>
                    <a:pt x="848915" y="563997"/>
                  </a:cubicBezTo>
                  <a:lnTo>
                    <a:pt x="848915" y="564188"/>
                  </a:lnTo>
                  <a:close/>
                  <a:moveTo>
                    <a:pt x="808039" y="570760"/>
                  </a:moveTo>
                  <a:cubicBezTo>
                    <a:pt x="801004" y="531041"/>
                    <a:pt x="764215" y="495703"/>
                    <a:pt x="718680" y="484749"/>
                  </a:cubicBezTo>
                  <a:cubicBezTo>
                    <a:pt x="709554" y="482559"/>
                    <a:pt x="700713" y="481511"/>
                    <a:pt x="692158" y="481511"/>
                  </a:cubicBezTo>
                  <a:cubicBezTo>
                    <a:pt x="664590" y="481511"/>
                    <a:pt x="640824" y="492846"/>
                    <a:pt x="624759" y="514182"/>
                  </a:cubicBezTo>
                  <a:cubicBezTo>
                    <a:pt x="603180" y="543423"/>
                    <a:pt x="598046" y="589620"/>
                    <a:pt x="612211" y="626291"/>
                  </a:cubicBezTo>
                  <a:cubicBezTo>
                    <a:pt x="622477" y="652961"/>
                    <a:pt x="650996" y="670487"/>
                    <a:pt x="684933" y="671058"/>
                  </a:cubicBezTo>
                  <a:cubicBezTo>
                    <a:pt x="723243" y="672201"/>
                    <a:pt x="764785" y="655628"/>
                    <a:pt x="788076" y="630006"/>
                  </a:cubicBezTo>
                  <a:cubicBezTo>
                    <a:pt x="803666" y="612956"/>
                    <a:pt x="810510" y="592382"/>
                    <a:pt x="807943" y="570665"/>
                  </a:cubicBezTo>
                  <a:close/>
                  <a:moveTo>
                    <a:pt x="893024" y="502656"/>
                  </a:moveTo>
                  <a:cubicBezTo>
                    <a:pt x="924014" y="587715"/>
                    <a:pt x="919166" y="707444"/>
                    <a:pt x="838173" y="782977"/>
                  </a:cubicBezTo>
                  <a:cubicBezTo>
                    <a:pt x="794730" y="824411"/>
                    <a:pt x="737883" y="846414"/>
                    <a:pt x="677043" y="846414"/>
                  </a:cubicBezTo>
                  <a:cubicBezTo>
                    <a:pt x="658981" y="846414"/>
                    <a:pt x="640634" y="844509"/>
                    <a:pt x="622097" y="840508"/>
                  </a:cubicBezTo>
                  <a:cubicBezTo>
                    <a:pt x="530742" y="821172"/>
                    <a:pt x="452791" y="757736"/>
                    <a:pt x="418569" y="675059"/>
                  </a:cubicBezTo>
                  <a:cubicBezTo>
                    <a:pt x="391096" y="613241"/>
                    <a:pt x="391476" y="540375"/>
                    <a:pt x="419710" y="475224"/>
                  </a:cubicBezTo>
                  <a:cubicBezTo>
                    <a:pt x="448609" y="408454"/>
                    <a:pt x="503079" y="357019"/>
                    <a:pt x="569147" y="334254"/>
                  </a:cubicBezTo>
                  <a:cubicBezTo>
                    <a:pt x="631413" y="311966"/>
                    <a:pt x="695200" y="315014"/>
                    <a:pt x="753663" y="342922"/>
                  </a:cubicBezTo>
                  <a:cubicBezTo>
                    <a:pt x="817165" y="373307"/>
                    <a:pt x="867928" y="431409"/>
                    <a:pt x="893024" y="502561"/>
                  </a:cubicBezTo>
                  <a:close/>
                  <a:moveTo>
                    <a:pt x="880381" y="507323"/>
                  </a:moveTo>
                  <a:lnTo>
                    <a:pt x="880381" y="507323"/>
                  </a:lnTo>
                  <a:cubicBezTo>
                    <a:pt x="851957" y="425885"/>
                    <a:pt x="765356" y="369497"/>
                    <a:pt x="670198" y="370449"/>
                  </a:cubicBezTo>
                  <a:cubicBezTo>
                    <a:pt x="669818" y="370449"/>
                    <a:pt x="669533" y="370449"/>
                    <a:pt x="669153" y="370449"/>
                  </a:cubicBezTo>
                  <a:cubicBezTo>
                    <a:pt x="595765" y="370449"/>
                    <a:pt x="528936" y="403311"/>
                    <a:pt x="485588" y="460746"/>
                  </a:cubicBezTo>
                  <a:cubicBezTo>
                    <a:pt x="441859" y="518658"/>
                    <a:pt x="428360" y="592858"/>
                    <a:pt x="448704" y="664391"/>
                  </a:cubicBezTo>
                  <a:cubicBezTo>
                    <a:pt x="465720" y="722493"/>
                    <a:pt x="504220" y="768309"/>
                    <a:pt x="557170" y="793264"/>
                  </a:cubicBezTo>
                  <a:cubicBezTo>
                    <a:pt x="611735" y="818982"/>
                    <a:pt x="676378" y="819267"/>
                    <a:pt x="734270" y="794121"/>
                  </a:cubicBezTo>
                  <a:cubicBezTo>
                    <a:pt x="839029" y="752307"/>
                    <a:pt x="924680" y="624291"/>
                    <a:pt x="880381" y="507419"/>
                  </a:cubicBezTo>
                  <a:close/>
                  <a:moveTo>
                    <a:pt x="634645" y="996051"/>
                  </a:moveTo>
                  <a:cubicBezTo>
                    <a:pt x="585118" y="996051"/>
                    <a:pt x="535686" y="986241"/>
                    <a:pt x="488535" y="966524"/>
                  </a:cubicBezTo>
                  <a:cubicBezTo>
                    <a:pt x="287383" y="883371"/>
                    <a:pt x="180438" y="636197"/>
                    <a:pt x="255062" y="426742"/>
                  </a:cubicBezTo>
                  <a:cubicBezTo>
                    <a:pt x="305065" y="281391"/>
                    <a:pt x="426744" y="180616"/>
                    <a:pt x="580460" y="157280"/>
                  </a:cubicBezTo>
                  <a:cubicBezTo>
                    <a:pt x="733605" y="134039"/>
                    <a:pt x="878955" y="193856"/>
                    <a:pt x="969359" y="317490"/>
                  </a:cubicBezTo>
                  <a:cubicBezTo>
                    <a:pt x="1049972" y="427790"/>
                    <a:pt x="1067748" y="586286"/>
                    <a:pt x="1014704" y="721255"/>
                  </a:cubicBezTo>
                  <a:cubicBezTo>
                    <a:pt x="972876" y="831078"/>
                    <a:pt x="889127" y="919851"/>
                    <a:pt x="785129" y="964714"/>
                  </a:cubicBezTo>
                  <a:cubicBezTo>
                    <a:pt x="736647" y="985574"/>
                    <a:pt x="685599" y="996051"/>
                    <a:pt x="634645" y="996051"/>
                  </a:cubicBezTo>
                  <a:close/>
                  <a:moveTo>
                    <a:pt x="1002631" y="716493"/>
                  </a:moveTo>
                  <a:cubicBezTo>
                    <a:pt x="1047975" y="601907"/>
                    <a:pt x="1025541" y="461794"/>
                    <a:pt x="945593" y="359496"/>
                  </a:cubicBezTo>
                  <a:cubicBezTo>
                    <a:pt x="870019" y="260340"/>
                    <a:pt x="757180" y="204333"/>
                    <a:pt x="637212" y="204333"/>
                  </a:cubicBezTo>
                  <a:cubicBezTo>
                    <a:pt x="621622" y="204333"/>
                    <a:pt x="605937" y="205286"/>
                    <a:pt x="590156" y="207191"/>
                  </a:cubicBezTo>
                  <a:cubicBezTo>
                    <a:pt x="454407" y="223669"/>
                    <a:pt x="339953" y="309966"/>
                    <a:pt x="284151" y="438077"/>
                  </a:cubicBezTo>
                  <a:cubicBezTo>
                    <a:pt x="221410" y="578952"/>
                    <a:pt x="260196" y="752878"/>
                    <a:pt x="376456" y="851748"/>
                  </a:cubicBezTo>
                  <a:cubicBezTo>
                    <a:pt x="472089" y="937187"/>
                    <a:pt x="613066" y="970048"/>
                    <a:pt x="744632" y="937568"/>
                  </a:cubicBezTo>
                  <a:cubicBezTo>
                    <a:pt x="866882" y="907469"/>
                    <a:pt x="960898" y="826887"/>
                    <a:pt x="1002536" y="716493"/>
                  </a:cubicBezTo>
                  <a:lnTo>
                    <a:pt x="1002536" y="716493"/>
                  </a:lnTo>
                  <a:close/>
                  <a:moveTo>
                    <a:pt x="43834" y="569617"/>
                  </a:moveTo>
                  <a:cubicBezTo>
                    <a:pt x="57713" y="426551"/>
                    <a:pt x="127584" y="292725"/>
                    <a:pt x="240328" y="192998"/>
                  </a:cubicBezTo>
                  <a:cubicBezTo>
                    <a:pt x="352881" y="93462"/>
                    <a:pt x="493478" y="40598"/>
                    <a:pt x="636451" y="44408"/>
                  </a:cubicBezTo>
                  <a:cubicBezTo>
                    <a:pt x="781516" y="48218"/>
                    <a:pt x="915174" y="110607"/>
                    <a:pt x="1012897" y="220240"/>
                  </a:cubicBezTo>
                  <a:cubicBezTo>
                    <a:pt x="1014609" y="222335"/>
                    <a:pt x="1017080" y="223669"/>
                    <a:pt x="1019742" y="223955"/>
                  </a:cubicBezTo>
                  <a:cubicBezTo>
                    <a:pt x="1022594" y="224241"/>
                    <a:pt x="1025541" y="223288"/>
                    <a:pt x="1027537" y="221288"/>
                  </a:cubicBezTo>
                  <a:cubicBezTo>
                    <a:pt x="1029628" y="219383"/>
                    <a:pt x="1030769" y="216525"/>
                    <a:pt x="1030674" y="213668"/>
                  </a:cubicBezTo>
                  <a:cubicBezTo>
                    <a:pt x="1030674" y="211096"/>
                    <a:pt x="1029533" y="208715"/>
                    <a:pt x="1027822" y="206905"/>
                  </a:cubicBezTo>
                  <a:cubicBezTo>
                    <a:pt x="912512" y="70888"/>
                    <a:pt x="743967" y="-4264"/>
                    <a:pt x="565345" y="212"/>
                  </a:cubicBezTo>
                  <a:cubicBezTo>
                    <a:pt x="389765" y="4784"/>
                    <a:pt x="227304" y="88414"/>
                    <a:pt x="119504" y="229765"/>
                  </a:cubicBezTo>
                  <a:cubicBezTo>
                    <a:pt x="-50277" y="450459"/>
                    <a:pt x="-37824" y="772214"/>
                    <a:pt x="148402" y="978049"/>
                  </a:cubicBezTo>
                  <a:cubicBezTo>
                    <a:pt x="149828" y="979668"/>
                    <a:pt x="151349" y="981287"/>
                    <a:pt x="152775" y="982907"/>
                  </a:cubicBezTo>
                  <a:lnTo>
                    <a:pt x="155057" y="985383"/>
                  </a:lnTo>
                  <a:lnTo>
                    <a:pt x="156198" y="986050"/>
                  </a:lnTo>
                  <a:cubicBezTo>
                    <a:pt x="158194" y="987193"/>
                    <a:pt x="160570" y="987860"/>
                    <a:pt x="162852" y="987860"/>
                  </a:cubicBezTo>
                  <a:cubicBezTo>
                    <a:pt x="164088" y="987860"/>
                    <a:pt x="165228" y="987669"/>
                    <a:pt x="166464" y="987384"/>
                  </a:cubicBezTo>
                  <a:cubicBezTo>
                    <a:pt x="169696" y="986431"/>
                    <a:pt x="172453" y="984240"/>
                    <a:pt x="173974" y="981383"/>
                  </a:cubicBezTo>
                  <a:cubicBezTo>
                    <a:pt x="176351" y="976906"/>
                    <a:pt x="175685" y="971477"/>
                    <a:pt x="172168" y="967191"/>
                  </a:cubicBezTo>
                  <a:cubicBezTo>
                    <a:pt x="75300" y="856129"/>
                    <a:pt x="29765" y="714968"/>
                    <a:pt x="43929" y="569712"/>
                  </a:cubicBezTo>
                  <a:close/>
                  <a:moveTo>
                    <a:pt x="1172032" y="561997"/>
                  </a:moveTo>
                  <a:lnTo>
                    <a:pt x="1171651" y="559902"/>
                  </a:lnTo>
                  <a:cubicBezTo>
                    <a:pt x="1169940" y="554377"/>
                    <a:pt x="1164997" y="550567"/>
                    <a:pt x="1159578" y="550853"/>
                  </a:cubicBezTo>
                  <a:cubicBezTo>
                    <a:pt x="1156156" y="550948"/>
                    <a:pt x="1152924" y="552663"/>
                    <a:pt x="1150738" y="555520"/>
                  </a:cubicBezTo>
                  <a:cubicBezTo>
                    <a:pt x="1148551" y="558378"/>
                    <a:pt x="1147601" y="561902"/>
                    <a:pt x="1148076" y="565521"/>
                  </a:cubicBezTo>
                  <a:cubicBezTo>
                    <a:pt x="1151118" y="670677"/>
                    <a:pt x="1125641" y="773166"/>
                    <a:pt x="1074403" y="861939"/>
                  </a:cubicBezTo>
                  <a:cubicBezTo>
                    <a:pt x="980957" y="1028532"/>
                    <a:pt x="811746" y="1136450"/>
                    <a:pt x="621241" y="1150642"/>
                  </a:cubicBezTo>
                  <a:cubicBezTo>
                    <a:pt x="613827" y="1151595"/>
                    <a:pt x="608408" y="1158357"/>
                    <a:pt x="609169" y="1165692"/>
                  </a:cubicBezTo>
                  <a:cubicBezTo>
                    <a:pt x="609834" y="1171692"/>
                    <a:pt x="614397" y="1176550"/>
                    <a:pt x="620481" y="1177693"/>
                  </a:cubicBezTo>
                  <a:lnTo>
                    <a:pt x="621432" y="1177884"/>
                  </a:lnTo>
                  <a:lnTo>
                    <a:pt x="622382" y="1177884"/>
                  </a:lnTo>
                  <a:cubicBezTo>
                    <a:pt x="636642" y="1177217"/>
                    <a:pt x="650901" y="1175979"/>
                    <a:pt x="664685" y="1174264"/>
                  </a:cubicBezTo>
                  <a:cubicBezTo>
                    <a:pt x="816689" y="1155976"/>
                    <a:pt x="951963" y="1081014"/>
                    <a:pt x="1045599" y="963285"/>
                  </a:cubicBezTo>
                  <a:cubicBezTo>
                    <a:pt x="1135813" y="849843"/>
                    <a:pt x="1180682" y="707349"/>
                    <a:pt x="1172032" y="561997"/>
                  </a:cubicBezTo>
                  <a:close/>
                  <a:moveTo>
                    <a:pt x="1170130" y="489226"/>
                  </a:moveTo>
                  <a:cubicBezTo>
                    <a:pt x="1175073" y="468938"/>
                    <a:pt x="1167849" y="393595"/>
                    <a:pt x="1142657" y="363591"/>
                  </a:cubicBezTo>
                  <a:cubicBezTo>
                    <a:pt x="1134957" y="354352"/>
                    <a:pt x="1125831" y="346732"/>
                    <a:pt x="1115565" y="352923"/>
                  </a:cubicBezTo>
                  <a:cubicBezTo>
                    <a:pt x="1101876" y="361115"/>
                    <a:pt x="1104728" y="376069"/>
                    <a:pt x="1114804" y="389975"/>
                  </a:cubicBezTo>
                  <a:cubicBezTo>
                    <a:pt x="1131725" y="413407"/>
                    <a:pt x="1144559" y="466271"/>
                    <a:pt x="1145414" y="486559"/>
                  </a:cubicBezTo>
                  <a:cubicBezTo>
                    <a:pt x="1145794" y="495322"/>
                    <a:pt x="1151783" y="501227"/>
                    <a:pt x="1158913" y="501418"/>
                  </a:cubicBezTo>
                  <a:cubicBezTo>
                    <a:pt x="1166043" y="501513"/>
                    <a:pt x="1168039" y="497894"/>
                    <a:pt x="1170130" y="489321"/>
                  </a:cubicBezTo>
                  <a:close/>
                </a:path>
              </a:pathLst>
            </a:custGeom>
            <a:grpFill/>
            <a:ln w="94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grpSp>
          <p:nvGrpSpPr>
            <p:cNvPr id="9" name="Graphic 77">
              <a:extLst>
                <a:ext uri="{FF2B5EF4-FFF2-40B4-BE49-F238E27FC236}">
                  <a16:creationId xmlns:a16="http://schemas.microsoft.com/office/drawing/2014/main" id="{7A9F2233-0580-4D9D-E555-79AF92641D6A}"/>
                </a:ext>
              </a:extLst>
            </p:cNvPr>
            <p:cNvGrpSpPr/>
            <p:nvPr/>
          </p:nvGrpSpPr>
          <p:grpSpPr>
            <a:xfrm>
              <a:off x="6016337" y="3871817"/>
              <a:ext cx="1690870" cy="144494"/>
              <a:chOff x="6016337" y="3871817"/>
              <a:chExt cx="1690870" cy="144494"/>
            </a:xfrm>
            <a:grpFill/>
          </p:grpSpPr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5C257215-CC9E-E6C0-722F-3B99CC7211D0}"/>
                  </a:ext>
                </a:extLst>
              </p:cNvPr>
              <p:cNvSpPr/>
              <p:nvPr/>
            </p:nvSpPr>
            <p:spPr>
              <a:xfrm>
                <a:off x="6016337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2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BC932338-903D-554F-54B0-D77194E87927}"/>
                  </a:ext>
                </a:extLst>
              </p:cNvPr>
              <p:cNvSpPr/>
              <p:nvPr/>
            </p:nvSpPr>
            <p:spPr>
              <a:xfrm>
                <a:off x="6086303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2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1 w 70250"/>
                  <a:gd name="connsiteY8" fmla="*/ 34004 h 78295"/>
                  <a:gd name="connsiteX9" fmla="*/ 38976 w 70250"/>
                  <a:gd name="connsiteY9" fmla="*/ 14954 h 78295"/>
                  <a:gd name="connsiteX10" fmla="*/ 17492 w 70250"/>
                  <a:gd name="connsiteY10" fmla="*/ 44577 h 78295"/>
                  <a:gd name="connsiteX11" fmla="*/ 17492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1" y="37624"/>
                      <a:pt x="54281" y="34004"/>
                    </a:cubicBezTo>
                    <a:cubicBezTo>
                      <a:pt x="54281" y="21050"/>
                      <a:pt x="49337" y="14954"/>
                      <a:pt x="38976" y="14954"/>
                    </a:cubicBezTo>
                    <a:cubicBezTo>
                      <a:pt x="25762" y="14954"/>
                      <a:pt x="17492" y="26194"/>
                      <a:pt x="17492" y="44577"/>
                    </a:cubicBezTo>
                    <a:lnTo>
                      <a:pt x="17492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6E5B9C21-12EE-4D43-513B-B4B0B33CE9CF}"/>
                  </a:ext>
                </a:extLst>
              </p:cNvPr>
              <p:cNvSpPr/>
              <p:nvPr/>
            </p:nvSpPr>
            <p:spPr>
              <a:xfrm>
                <a:off x="6169197" y="3904773"/>
                <a:ext cx="74909" cy="79533"/>
              </a:xfrm>
              <a:custGeom>
                <a:avLst/>
                <a:gdLst>
                  <a:gd name="connsiteX0" fmla="*/ 95 w 74909"/>
                  <a:gd name="connsiteY0" fmla="*/ 56198 h 79533"/>
                  <a:gd name="connsiteX1" fmla="*/ 28899 w 74909"/>
                  <a:gd name="connsiteY1" fmla="*/ 35243 h 79533"/>
                  <a:gd name="connsiteX2" fmla="*/ 57418 w 74909"/>
                  <a:gd name="connsiteY2" fmla="*/ 35243 h 79533"/>
                  <a:gd name="connsiteX3" fmla="*/ 57418 w 74909"/>
                  <a:gd name="connsiteY3" fmla="*/ 29813 h 79533"/>
                  <a:gd name="connsiteX4" fmla="*/ 37169 w 74909"/>
                  <a:gd name="connsiteY4" fmla="*/ 13145 h 79533"/>
                  <a:gd name="connsiteX5" fmla="*/ 18632 w 74909"/>
                  <a:gd name="connsiteY5" fmla="*/ 26289 h 79533"/>
                  <a:gd name="connsiteX6" fmla="*/ 18822 w 74909"/>
                  <a:gd name="connsiteY6" fmla="*/ 29242 h 79533"/>
                  <a:gd name="connsiteX7" fmla="*/ 2757 w 74909"/>
                  <a:gd name="connsiteY7" fmla="*/ 29242 h 79533"/>
                  <a:gd name="connsiteX8" fmla="*/ 2472 w 74909"/>
                  <a:gd name="connsiteY8" fmla="*/ 24670 h 79533"/>
                  <a:gd name="connsiteX9" fmla="*/ 37835 w 74909"/>
                  <a:gd name="connsiteY9" fmla="*/ 0 h 79533"/>
                  <a:gd name="connsiteX10" fmla="*/ 74909 w 74909"/>
                  <a:gd name="connsiteY10" fmla="*/ 31337 h 79533"/>
                  <a:gd name="connsiteX11" fmla="*/ 74909 w 74909"/>
                  <a:gd name="connsiteY11" fmla="*/ 78296 h 79533"/>
                  <a:gd name="connsiteX12" fmla="*/ 57418 w 74909"/>
                  <a:gd name="connsiteY12" fmla="*/ 78296 h 79533"/>
                  <a:gd name="connsiteX13" fmla="*/ 58178 w 74909"/>
                  <a:gd name="connsiteY13" fmla="*/ 61246 h 79533"/>
                  <a:gd name="connsiteX14" fmla="*/ 57988 w 74909"/>
                  <a:gd name="connsiteY14" fmla="*/ 61246 h 79533"/>
                  <a:gd name="connsiteX15" fmla="*/ 29279 w 74909"/>
                  <a:gd name="connsiteY15" fmla="*/ 79534 h 79533"/>
                  <a:gd name="connsiteX16" fmla="*/ 0 w 74909"/>
                  <a:gd name="connsiteY16" fmla="*/ 56102 h 79533"/>
                  <a:gd name="connsiteX17" fmla="*/ 57418 w 74909"/>
                  <a:gd name="connsiteY17" fmla="*/ 47339 h 79533"/>
                  <a:gd name="connsiteX18" fmla="*/ 57418 w 74909"/>
                  <a:gd name="connsiteY18" fmla="*/ 45910 h 79533"/>
                  <a:gd name="connsiteX19" fmla="*/ 30515 w 74909"/>
                  <a:gd name="connsiteY19" fmla="*/ 45910 h 79533"/>
                  <a:gd name="connsiteX20" fmla="*/ 16161 w 74909"/>
                  <a:gd name="connsiteY20" fmla="*/ 55435 h 79533"/>
                  <a:gd name="connsiteX21" fmla="*/ 32987 w 74909"/>
                  <a:gd name="connsiteY21" fmla="*/ 66485 h 79533"/>
                  <a:gd name="connsiteX22" fmla="*/ 57418 w 74909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909" h="79533">
                    <a:moveTo>
                      <a:pt x="95" y="56198"/>
                    </a:moveTo>
                    <a:cubicBezTo>
                      <a:pt x="95" y="44482"/>
                      <a:pt x="8366" y="35243"/>
                      <a:pt x="28899" y="35243"/>
                    </a:cubicBezTo>
                    <a:lnTo>
                      <a:pt x="57418" y="35243"/>
                    </a:lnTo>
                    <a:lnTo>
                      <a:pt x="57418" y="29813"/>
                    </a:lnTo>
                    <a:cubicBezTo>
                      <a:pt x="57418" y="18288"/>
                      <a:pt x="50763" y="13145"/>
                      <a:pt x="37169" y="13145"/>
                    </a:cubicBezTo>
                    <a:cubicBezTo>
                      <a:pt x="25287" y="13145"/>
                      <a:pt x="18632" y="17717"/>
                      <a:pt x="18632" y="26289"/>
                    </a:cubicBezTo>
                    <a:cubicBezTo>
                      <a:pt x="18632" y="26765"/>
                      <a:pt x="18632" y="28004"/>
                      <a:pt x="18822" y="29242"/>
                    </a:cubicBezTo>
                    <a:lnTo>
                      <a:pt x="2757" y="29242"/>
                    </a:lnTo>
                    <a:cubicBezTo>
                      <a:pt x="2567" y="28099"/>
                      <a:pt x="2472" y="26099"/>
                      <a:pt x="2472" y="24670"/>
                    </a:cubicBezTo>
                    <a:cubicBezTo>
                      <a:pt x="2472" y="9239"/>
                      <a:pt x="15875" y="0"/>
                      <a:pt x="37835" y="0"/>
                    </a:cubicBezTo>
                    <a:cubicBezTo>
                      <a:pt x="61220" y="0"/>
                      <a:pt x="74909" y="11049"/>
                      <a:pt x="74909" y="31337"/>
                    </a:cubicBezTo>
                    <a:lnTo>
                      <a:pt x="74909" y="78296"/>
                    </a:lnTo>
                    <a:lnTo>
                      <a:pt x="57418" y="78296"/>
                    </a:lnTo>
                    <a:cubicBezTo>
                      <a:pt x="57703" y="74581"/>
                      <a:pt x="58178" y="67532"/>
                      <a:pt x="58178" y="61246"/>
                    </a:cubicBezTo>
                    <a:lnTo>
                      <a:pt x="57988" y="61246"/>
                    </a:lnTo>
                    <a:cubicBezTo>
                      <a:pt x="55516" y="72676"/>
                      <a:pt x="46295" y="79534"/>
                      <a:pt x="29279" y="79534"/>
                    </a:cubicBezTo>
                    <a:cubicBezTo>
                      <a:pt x="12263" y="79534"/>
                      <a:pt x="0" y="71152"/>
                      <a:pt x="0" y="56102"/>
                    </a:cubicBezTo>
                    <a:close/>
                    <a:moveTo>
                      <a:pt x="57418" y="47339"/>
                    </a:moveTo>
                    <a:lnTo>
                      <a:pt x="57418" y="45910"/>
                    </a:lnTo>
                    <a:lnTo>
                      <a:pt x="30515" y="45910"/>
                    </a:lnTo>
                    <a:cubicBezTo>
                      <a:pt x="20533" y="45910"/>
                      <a:pt x="16161" y="49340"/>
                      <a:pt x="16161" y="55435"/>
                    </a:cubicBezTo>
                    <a:cubicBezTo>
                      <a:pt x="16161" y="62484"/>
                      <a:pt x="22435" y="66485"/>
                      <a:pt x="32987" y="66485"/>
                    </a:cubicBezTo>
                    <a:cubicBezTo>
                      <a:pt x="48101" y="66485"/>
                      <a:pt x="57418" y="59150"/>
                      <a:pt x="57418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838FAE42-E3A6-9BD2-CBEC-824E5AD13011}"/>
                  </a:ext>
                </a:extLst>
              </p:cNvPr>
              <p:cNvSpPr/>
              <p:nvPr/>
            </p:nvSpPr>
            <p:spPr>
              <a:xfrm>
                <a:off x="6260742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1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1 w 80612"/>
                  <a:gd name="connsiteY10" fmla="*/ 41053 h 78390"/>
                  <a:gd name="connsiteX11" fmla="*/ 17491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1" y="24194"/>
                      <a:pt x="17491" y="41053"/>
                    </a:cubicBezTo>
                    <a:lnTo>
                      <a:pt x="17491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532EEC5B-B374-B120-51AC-9E2C8BD23978}"/>
                  </a:ext>
                </a:extLst>
              </p:cNvPr>
              <p:cNvSpPr/>
              <p:nvPr/>
            </p:nvSpPr>
            <p:spPr>
              <a:xfrm>
                <a:off x="635561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4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3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1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4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98793D3-75C7-DD4D-E5B5-6B658C51246B}"/>
                  </a:ext>
                </a:extLst>
              </p:cNvPr>
              <p:cNvSpPr/>
              <p:nvPr/>
            </p:nvSpPr>
            <p:spPr>
              <a:xfrm>
                <a:off x="6436797" y="3871817"/>
                <a:ext cx="56466" cy="111252"/>
              </a:xfrm>
              <a:custGeom>
                <a:avLst/>
                <a:gdLst>
                  <a:gd name="connsiteX0" fmla="*/ 12263 w 56466"/>
                  <a:gd name="connsiteY0" fmla="*/ 48387 h 111252"/>
                  <a:gd name="connsiteX1" fmla="*/ 0 w 56466"/>
                  <a:gd name="connsiteY1" fmla="*/ 48387 h 111252"/>
                  <a:gd name="connsiteX2" fmla="*/ 0 w 56466"/>
                  <a:gd name="connsiteY2" fmla="*/ 34195 h 111252"/>
                  <a:gd name="connsiteX3" fmla="*/ 12263 w 56466"/>
                  <a:gd name="connsiteY3" fmla="*/ 34195 h 111252"/>
                  <a:gd name="connsiteX4" fmla="*/ 12263 w 56466"/>
                  <a:gd name="connsiteY4" fmla="*/ 26575 h 111252"/>
                  <a:gd name="connsiteX5" fmla="*/ 40306 w 56466"/>
                  <a:gd name="connsiteY5" fmla="*/ 0 h 111252"/>
                  <a:gd name="connsiteX6" fmla="*/ 55231 w 56466"/>
                  <a:gd name="connsiteY6" fmla="*/ 2191 h 111252"/>
                  <a:gd name="connsiteX7" fmla="*/ 55231 w 56466"/>
                  <a:gd name="connsiteY7" fmla="*/ 16097 h 111252"/>
                  <a:gd name="connsiteX8" fmla="*/ 43348 w 56466"/>
                  <a:gd name="connsiteY8" fmla="*/ 14192 h 111252"/>
                  <a:gd name="connsiteX9" fmla="*/ 29659 w 56466"/>
                  <a:gd name="connsiteY9" fmla="*/ 27337 h 111252"/>
                  <a:gd name="connsiteX10" fmla="*/ 29659 w 56466"/>
                  <a:gd name="connsiteY10" fmla="*/ 34195 h 111252"/>
                  <a:gd name="connsiteX11" fmla="*/ 56467 w 56466"/>
                  <a:gd name="connsiteY11" fmla="*/ 34195 h 111252"/>
                  <a:gd name="connsiteX12" fmla="*/ 56467 w 56466"/>
                  <a:gd name="connsiteY12" fmla="*/ 48387 h 111252"/>
                  <a:gd name="connsiteX13" fmla="*/ 29659 w 56466"/>
                  <a:gd name="connsiteY13" fmla="*/ 48387 h 111252"/>
                  <a:gd name="connsiteX14" fmla="*/ 29659 w 56466"/>
                  <a:gd name="connsiteY14" fmla="*/ 111252 h 111252"/>
                  <a:gd name="connsiteX15" fmla="*/ 12168 w 56466"/>
                  <a:gd name="connsiteY15" fmla="*/ 111252 h 111252"/>
                  <a:gd name="connsiteX16" fmla="*/ 12168 w 56466"/>
                  <a:gd name="connsiteY16" fmla="*/ 48387 h 111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466" h="111252">
                    <a:moveTo>
                      <a:pt x="12263" y="48387"/>
                    </a:moveTo>
                    <a:lnTo>
                      <a:pt x="0" y="48387"/>
                    </a:lnTo>
                    <a:lnTo>
                      <a:pt x="0" y="34195"/>
                    </a:lnTo>
                    <a:lnTo>
                      <a:pt x="12263" y="34195"/>
                    </a:lnTo>
                    <a:lnTo>
                      <a:pt x="12263" y="26575"/>
                    </a:lnTo>
                    <a:cubicBezTo>
                      <a:pt x="12263" y="9430"/>
                      <a:pt x="23670" y="0"/>
                      <a:pt x="40306" y="0"/>
                    </a:cubicBezTo>
                    <a:cubicBezTo>
                      <a:pt x="47151" y="0"/>
                      <a:pt x="52759" y="1238"/>
                      <a:pt x="55231" y="2191"/>
                    </a:cubicBezTo>
                    <a:lnTo>
                      <a:pt x="55231" y="16097"/>
                    </a:lnTo>
                    <a:cubicBezTo>
                      <a:pt x="52759" y="15335"/>
                      <a:pt x="48672" y="14192"/>
                      <a:pt x="43348" y="14192"/>
                    </a:cubicBezTo>
                    <a:cubicBezTo>
                      <a:pt x="34507" y="14192"/>
                      <a:pt x="29659" y="18860"/>
                      <a:pt x="29659" y="27337"/>
                    </a:cubicBezTo>
                    <a:lnTo>
                      <a:pt x="29659" y="34195"/>
                    </a:lnTo>
                    <a:lnTo>
                      <a:pt x="56467" y="34195"/>
                    </a:lnTo>
                    <a:lnTo>
                      <a:pt x="56467" y="48387"/>
                    </a:lnTo>
                    <a:lnTo>
                      <a:pt x="29659" y="48387"/>
                    </a:lnTo>
                    <a:lnTo>
                      <a:pt x="29659" y="111252"/>
                    </a:lnTo>
                    <a:lnTo>
                      <a:pt x="12168" y="111252"/>
                    </a:lnTo>
                    <a:lnTo>
                      <a:pt x="12168" y="48387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DEC6EDDD-901C-0F5B-C9AE-5E9A7EEC1BCB}"/>
                  </a:ext>
                </a:extLst>
              </p:cNvPr>
              <p:cNvSpPr/>
              <p:nvPr/>
            </p:nvSpPr>
            <p:spPr>
              <a:xfrm>
                <a:off x="6497732" y="3904773"/>
                <a:ext cx="80517" cy="79533"/>
              </a:xfrm>
              <a:custGeom>
                <a:avLst/>
                <a:gdLst>
                  <a:gd name="connsiteX0" fmla="*/ 0 w 80517"/>
                  <a:gd name="connsiteY0" fmla="*/ 39910 h 79533"/>
                  <a:gd name="connsiteX1" fmla="*/ 40211 w 80517"/>
                  <a:gd name="connsiteY1" fmla="*/ 0 h 79533"/>
                  <a:gd name="connsiteX2" fmla="*/ 80518 w 80517"/>
                  <a:gd name="connsiteY2" fmla="*/ 39910 h 79533"/>
                  <a:gd name="connsiteX3" fmla="*/ 40211 w 80517"/>
                  <a:gd name="connsiteY3" fmla="*/ 79534 h 79533"/>
                  <a:gd name="connsiteX4" fmla="*/ 0 w 80517"/>
                  <a:gd name="connsiteY4" fmla="*/ 39910 h 79533"/>
                  <a:gd name="connsiteX5" fmla="*/ 63121 w 80517"/>
                  <a:gd name="connsiteY5" fmla="*/ 39910 h 79533"/>
                  <a:gd name="connsiteX6" fmla="*/ 40211 w 80517"/>
                  <a:gd name="connsiteY6" fmla="*/ 14288 h 79533"/>
                  <a:gd name="connsiteX7" fmla="*/ 17492 w 80517"/>
                  <a:gd name="connsiteY7" fmla="*/ 39910 h 79533"/>
                  <a:gd name="connsiteX8" fmla="*/ 40211 w 80517"/>
                  <a:gd name="connsiteY8" fmla="*/ 65151 h 79533"/>
                  <a:gd name="connsiteX9" fmla="*/ 63121 w 80517"/>
                  <a:gd name="connsiteY9" fmla="*/ 39910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517" h="79533">
                    <a:moveTo>
                      <a:pt x="0" y="39910"/>
                    </a:moveTo>
                    <a:cubicBezTo>
                      <a:pt x="0" y="15240"/>
                      <a:pt x="15780" y="0"/>
                      <a:pt x="40211" y="0"/>
                    </a:cubicBezTo>
                    <a:cubicBezTo>
                      <a:pt x="64642" y="0"/>
                      <a:pt x="80518" y="15335"/>
                      <a:pt x="80518" y="39910"/>
                    </a:cubicBezTo>
                    <a:cubicBezTo>
                      <a:pt x="80518" y="64484"/>
                      <a:pt x="64737" y="79534"/>
                      <a:pt x="40211" y="79534"/>
                    </a:cubicBezTo>
                    <a:cubicBezTo>
                      <a:pt x="15685" y="79534"/>
                      <a:pt x="0" y="64389"/>
                      <a:pt x="0" y="39910"/>
                    </a:cubicBezTo>
                    <a:close/>
                    <a:moveTo>
                      <a:pt x="63121" y="39910"/>
                    </a:moveTo>
                    <a:cubicBezTo>
                      <a:pt x="63121" y="24098"/>
                      <a:pt x="54376" y="14288"/>
                      <a:pt x="40211" y="14288"/>
                    </a:cubicBezTo>
                    <a:cubicBezTo>
                      <a:pt x="26047" y="14288"/>
                      <a:pt x="17492" y="24098"/>
                      <a:pt x="17492" y="39910"/>
                    </a:cubicBezTo>
                    <a:cubicBezTo>
                      <a:pt x="17492" y="55721"/>
                      <a:pt x="26047" y="65151"/>
                      <a:pt x="40211" y="65151"/>
                    </a:cubicBezTo>
                    <a:cubicBezTo>
                      <a:pt x="54376" y="65151"/>
                      <a:pt x="63121" y="55435"/>
                      <a:pt x="63121" y="39910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0BADD50-4056-F104-1C12-673BE324C267}"/>
                  </a:ext>
                </a:extLst>
              </p:cNvPr>
              <p:cNvSpPr/>
              <p:nvPr/>
            </p:nvSpPr>
            <p:spPr>
              <a:xfrm>
                <a:off x="6593174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1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0 w 70250"/>
                  <a:gd name="connsiteY8" fmla="*/ 34004 h 78295"/>
                  <a:gd name="connsiteX9" fmla="*/ 38975 w 70250"/>
                  <a:gd name="connsiteY9" fmla="*/ 14954 h 78295"/>
                  <a:gd name="connsiteX10" fmla="*/ 17491 w 70250"/>
                  <a:gd name="connsiteY10" fmla="*/ 44577 h 78295"/>
                  <a:gd name="connsiteX11" fmla="*/ 17491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8975" y="14954"/>
                    </a:cubicBezTo>
                    <a:cubicBezTo>
                      <a:pt x="25762" y="14954"/>
                      <a:pt x="17491" y="26194"/>
                      <a:pt x="17491" y="44577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D3472F8A-847F-E5FE-AA51-027CF785CFE4}"/>
                  </a:ext>
                </a:extLst>
              </p:cNvPr>
              <p:cNvSpPr/>
              <p:nvPr/>
            </p:nvSpPr>
            <p:spPr>
              <a:xfrm>
                <a:off x="6678445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293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2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B182A506-4997-AC1D-1793-C8EBAB0B7F39}"/>
                  </a:ext>
                </a:extLst>
              </p:cNvPr>
              <p:cNvSpPr/>
              <p:nvPr/>
            </p:nvSpPr>
            <p:spPr>
              <a:xfrm>
                <a:off x="6819708" y="3879818"/>
                <a:ext cx="17871" cy="103250"/>
              </a:xfrm>
              <a:custGeom>
                <a:avLst/>
                <a:gdLst>
                  <a:gd name="connsiteX0" fmla="*/ 0 w 17871"/>
                  <a:gd name="connsiteY0" fmla="*/ 0 h 103250"/>
                  <a:gd name="connsiteX1" fmla="*/ 17872 w 17871"/>
                  <a:gd name="connsiteY1" fmla="*/ 0 h 103250"/>
                  <a:gd name="connsiteX2" fmla="*/ 17872 w 17871"/>
                  <a:gd name="connsiteY2" fmla="*/ 17145 h 103250"/>
                  <a:gd name="connsiteX3" fmla="*/ 0 w 17871"/>
                  <a:gd name="connsiteY3" fmla="*/ 17145 h 103250"/>
                  <a:gd name="connsiteX4" fmla="*/ 0 w 17871"/>
                  <a:gd name="connsiteY4" fmla="*/ 0 h 103250"/>
                  <a:gd name="connsiteX5" fmla="*/ 190 w 17871"/>
                  <a:gd name="connsiteY5" fmla="*/ 26194 h 103250"/>
                  <a:gd name="connsiteX6" fmla="*/ 17682 w 17871"/>
                  <a:gd name="connsiteY6" fmla="*/ 26194 h 103250"/>
                  <a:gd name="connsiteX7" fmla="*/ 17682 w 17871"/>
                  <a:gd name="connsiteY7" fmla="*/ 103251 h 103250"/>
                  <a:gd name="connsiteX8" fmla="*/ 190 w 17871"/>
                  <a:gd name="connsiteY8" fmla="*/ 103251 h 103250"/>
                  <a:gd name="connsiteX9" fmla="*/ 190 w 17871"/>
                  <a:gd name="connsiteY9" fmla="*/ 26194 h 1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871" h="103250">
                    <a:moveTo>
                      <a:pt x="0" y="0"/>
                    </a:moveTo>
                    <a:lnTo>
                      <a:pt x="17872" y="0"/>
                    </a:lnTo>
                    <a:lnTo>
                      <a:pt x="17872" y="17145"/>
                    </a:lnTo>
                    <a:lnTo>
                      <a:pt x="0" y="17145"/>
                    </a:lnTo>
                    <a:lnTo>
                      <a:pt x="0" y="0"/>
                    </a:lnTo>
                    <a:close/>
                    <a:moveTo>
                      <a:pt x="190" y="26194"/>
                    </a:moveTo>
                    <a:lnTo>
                      <a:pt x="17682" y="26194"/>
                    </a:lnTo>
                    <a:lnTo>
                      <a:pt x="17682" y="103251"/>
                    </a:lnTo>
                    <a:lnTo>
                      <a:pt x="190" y="103251"/>
                    </a:lnTo>
                    <a:lnTo>
                      <a:pt x="190" y="26194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98AF2A8-9CA4-1E7A-6C12-1C43C9E6280B}"/>
                  </a:ext>
                </a:extLst>
              </p:cNvPr>
              <p:cNvSpPr/>
              <p:nvPr/>
            </p:nvSpPr>
            <p:spPr>
              <a:xfrm>
                <a:off x="6855546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2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2 w 80612"/>
                  <a:gd name="connsiteY10" fmla="*/ 41053 h 78390"/>
                  <a:gd name="connsiteX11" fmla="*/ 17492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2" y="24194"/>
                      <a:pt x="17492" y="41053"/>
                    </a:cubicBezTo>
                    <a:lnTo>
                      <a:pt x="17492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E120418C-91A6-D9CC-FFE2-3B2C7F960F72}"/>
                  </a:ext>
                </a:extLst>
              </p:cNvPr>
              <p:cNvSpPr/>
              <p:nvPr/>
            </p:nvSpPr>
            <p:spPr>
              <a:xfrm>
                <a:off x="6950133" y="3890581"/>
                <a:ext cx="82133" cy="125730"/>
              </a:xfrm>
              <a:custGeom>
                <a:avLst/>
                <a:gdLst>
                  <a:gd name="connsiteX0" fmla="*/ 82039 w 82133"/>
                  <a:gd name="connsiteY0" fmla="*/ 99822 h 125730"/>
                  <a:gd name="connsiteX1" fmla="*/ 41542 w 82133"/>
                  <a:gd name="connsiteY1" fmla="*/ 125730 h 125730"/>
                  <a:gd name="connsiteX2" fmla="*/ 0 w 82133"/>
                  <a:gd name="connsiteY2" fmla="*/ 103918 h 125730"/>
                  <a:gd name="connsiteX3" fmla="*/ 14925 w 82133"/>
                  <a:gd name="connsiteY3" fmla="*/ 89916 h 125730"/>
                  <a:gd name="connsiteX4" fmla="*/ 14925 w 82133"/>
                  <a:gd name="connsiteY4" fmla="*/ 89725 h 125730"/>
                  <a:gd name="connsiteX5" fmla="*/ 8175 w 82133"/>
                  <a:gd name="connsiteY5" fmla="*/ 77057 h 125730"/>
                  <a:gd name="connsiteX6" fmla="*/ 15305 w 82133"/>
                  <a:gd name="connsiteY6" fmla="*/ 63913 h 125730"/>
                  <a:gd name="connsiteX7" fmla="*/ 15305 w 82133"/>
                  <a:gd name="connsiteY7" fmla="*/ 63627 h 125730"/>
                  <a:gd name="connsiteX8" fmla="*/ 3422 w 82133"/>
                  <a:gd name="connsiteY8" fmla="*/ 41624 h 125730"/>
                  <a:gd name="connsiteX9" fmla="*/ 37740 w 82133"/>
                  <a:gd name="connsiteY9" fmla="*/ 14192 h 125730"/>
                  <a:gd name="connsiteX10" fmla="*/ 59224 w 82133"/>
                  <a:gd name="connsiteY10" fmla="*/ 19145 h 125730"/>
                  <a:gd name="connsiteX11" fmla="*/ 59414 w 82133"/>
                  <a:gd name="connsiteY11" fmla="*/ 18955 h 125730"/>
                  <a:gd name="connsiteX12" fmla="*/ 55706 w 82133"/>
                  <a:gd name="connsiteY12" fmla="*/ 10192 h 125730"/>
                  <a:gd name="connsiteX13" fmla="*/ 70821 w 82133"/>
                  <a:gd name="connsiteY13" fmla="*/ 0 h 125730"/>
                  <a:gd name="connsiteX14" fmla="*/ 78616 w 82133"/>
                  <a:gd name="connsiteY14" fmla="*/ 762 h 125730"/>
                  <a:gd name="connsiteX15" fmla="*/ 78616 w 82133"/>
                  <a:gd name="connsiteY15" fmla="*/ 13049 h 125730"/>
                  <a:gd name="connsiteX16" fmla="*/ 73483 w 82133"/>
                  <a:gd name="connsiteY16" fmla="*/ 12287 h 125730"/>
                  <a:gd name="connsiteX17" fmla="*/ 65878 w 82133"/>
                  <a:gd name="connsiteY17" fmla="*/ 18669 h 125730"/>
                  <a:gd name="connsiteX18" fmla="*/ 67589 w 82133"/>
                  <a:gd name="connsiteY18" fmla="*/ 26479 h 125730"/>
                  <a:gd name="connsiteX19" fmla="*/ 72152 w 82133"/>
                  <a:gd name="connsiteY19" fmla="*/ 41434 h 125730"/>
                  <a:gd name="connsiteX20" fmla="*/ 37930 w 82133"/>
                  <a:gd name="connsiteY20" fmla="*/ 68866 h 125730"/>
                  <a:gd name="connsiteX21" fmla="*/ 24336 w 82133"/>
                  <a:gd name="connsiteY21" fmla="*/ 67151 h 125730"/>
                  <a:gd name="connsiteX22" fmla="*/ 22435 w 82133"/>
                  <a:gd name="connsiteY22" fmla="*/ 73057 h 125730"/>
                  <a:gd name="connsiteX23" fmla="*/ 31180 w 82133"/>
                  <a:gd name="connsiteY23" fmla="*/ 80105 h 125730"/>
                  <a:gd name="connsiteX24" fmla="*/ 56087 w 82133"/>
                  <a:gd name="connsiteY24" fmla="*/ 80105 h 125730"/>
                  <a:gd name="connsiteX25" fmla="*/ 82134 w 82133"/>
                  <a:gd name="connsiteY25" fmla="*/ 99631 h 125730"/>
                  <a:gd name="connsiteX26" fmla="*/ 64547 w 82133"/>
                  <a:gd name="connsiteY26" fmla="*/ 101822 h 125730"/>
                  <a:gd name="connsiteX27" fmla="*/ 52379 w 82133"/>
                  <a:gd name="connsiteY27" fmla="*/ 93821 h 125730"/>
                  <a:gd name="connsiteX28" fmla="*/ 31466 w 82133"/>
                  <a:gd name="connsiteY28" fmla="*/ 93821 h 125730"/>
                  <a:gd name="connsiteX29" fmla="*/ 17111 w 82133"/>
                  <a:gd name="connsiteY29" fmla="*/ 102394 h 125730"/>
                  <a:gd name="connsiteX30" fmla="*/ 41257 w 82133"/>
                  <a:gd name="connsiteY30" fmla="*/ 113348 h 125730"/>
                  <a:gd name="connsiteX31" fmla="*/ 64452 w 82133"/>
                  <a:gd name="connsiteY31" fmla="*/ 101822 h 125730"/>
                  <a:gd name="connsiteX32" fmla="*/ 20153 w 82133"/>
                  <a:gd name="connsiteY32" fmla="*/ 41624 h 125730"/>
                  <a:gd name="connsiteX33" fmla="*/ 37740 w 82133"/>
                  <a:gd name="connsiteY33" fmla="*/ 56579 h 125730"/>
                  <a:gd name="connsiteX34" fmla="*/ 55326 w 82133"/>
                  <a:gd name="connsiteY34" fmla="*/ 41624 h 125730"/>
                  <a:gd name="connsiteX35" fmla="*/ 37740 w 82133"/>
                  <a:gd name="connsiteY35" fmla="*/ 26670 h 125730"/>
                  <a:gd name="connsiteX36" fmla="*/ 20153 w 82133"/>
                  <a:gd name="connsiteY36" fmla="*/ 41624 h 12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82133" h="125730">
                    <a:moveTo>
                      <a:pt x="82039" y="99822"/>
                    </a:moveTo>
                    <a:cubicBezTo>
                      <a:pt x="82039" y="116015"/>
                      <a:pt x="66924" y="125730"/>
                      <a:pt x="41542" y="125730"/>
                    </a:cubicBezTo>
                    <a:cubicBezTo>
                      <a:pt x="16160" y="125730"/>
                      <a:pt x="0" y="117729"/>
                      <a:pt x="0" y="103918"/>
                    </a:cubicBezTo>
                    <a:cubicBezTo>
                      <a:pt x="0" y="96107"/>
                      <a:pt x="5799" y="90297"/>
                      <a:pt x="14925" y="89916"/>
                    </a:cubicBezTo>
                    <a:lnTo>
                      <a:pt x="14925" y="89725"/>
                    </a:lnTo>
                    <a:cubicBezTo>
                      <a:pt x="10552" y="86773"/>
                      <a:pt x="8175" y="82582"/>
                      <a:pt x="8175" y="77057"/>
                    </a:cubicBezTo>
                    <a:cubicBezTo>
                      <a:pt x="8175" y="70485"/>
                      <a:pt x="11122" y="66008"/>
                      <a:pt x="15305" y="63913"/>
                    </a:cubicBezTo>
                    <a:lnTo>
                      <a:pt x="15305" y="63627"/>
                    </a:lnTo>
                    <a:cubicBezTo>
                      <a:pt x="7700" y="58960"/>
                      <a:pt x="3422" y="51340"/>
                      <a:pt x="3422" y="41624"/>
                    </a:cubicBezTo>
                    <a:cubicBezTo>
                      <a:pt x="3422" y="24765"/>
                      <a:pt x="16541" y="14192"/>
                      <a:pt x="37740" y="14192"/>
                    </a:cubicBezTo>
                    <a:cubicBezTo>
                      <a:pt x="46485" y="14192"/>
                      <a:pt x="53615" y="15907"/>
                      <a:pt x="59224" y="19145"/>
                    </a:cubicBezTo>
                    <a:lnTo>
                      <a:pt x="59414" y="18955"/>
                    </a:lnTo>
                    <a:cubicBezTo>
                      <a:pt x="57037" y="16478"/>
                      <a:pt x="55706" y="13525"/>
                      <a:pt x="55706" y="10192"/>
                    </a:cubicBezTo>
                    <a:cubicBezTo>
                      <a:pt x="55706" y="3905"/>
                      <a:pt x="61600" y="0"/>
                      <a:pt x="70821" y="0"/>
                    </a:cubicBezTo>
                    <a:cubicBezTo>
                      <a:pt x="74529" y="0"/>
                      <a:pt x="76715" y="286"/>
                      <a:pt x="78616" y="762"/>
                    </a:cubicBezTo>
                    <a:lnTo>
                      <a:pt x="78616" y="13049"/>
                    </a:lnTo>
                    <a:cubicBezTo>
                      <a:pt x="77380" y="12573"/>
                      <a:pt x="75669" y="12287"/>
                      <a:pt x="73483" y="12287"/>
                    </a:cubicBezTo>
                    <a:cubicBezTo>
                      <a:pt x="68350" y="12287"/>
                      <a:pt x="65878" y="14478"/>
                      <a:pt x="65878" y="18669"/>
                    </a:cubicBezTo>
                    <a:cubicBezTo>
                      <a:pt x="65878" y="20860"/>
                      <a:pt x="66638" y="23527"/>
                      <a:pt x="67589" y="26479"/>
                    </a:cubicBezTo>
                    <a:cubicBezTo>
                      <a:pt x="70536" y="30575"/>
                      <a:pt x="72152" y="35719"/>
                      <a:pt x="72152" y="41434"/>
                    </a:cubicBezTo>
                    <a:cubicBezTo>
                      <a:pt x="72152" y="58483"/>
                      <a:pt x="59034" y="68866"/>
                      <a:pt x="37930" y="68866"/>
                    </a:cubicBezTo>
                    <a:cubicBezTo>
                      <a:pt x="32987" y="68866"/>
                      <a:pt x="28423" y="68199"/>
                      <a:pt x="24336" y="67151"/>
                    </a:cubicBezTo>
                    <a:cubicBezTo>
                      <a:pt x="23385" y="68199"/>
                      <a:pt x="22435" y="70390"/>
                      <a:pt x="22435" y="73057"/>
                    </a:cubicBezTo>
                    <a:cubicBezTo>
                      <a:pt x="22435" y="77438"/>
                      <a:pt x="25572" y="80105"/>
                      <a:pt x="31180" y="80105"/>
                    </a:cubicBezTo>
                    <a:lnTo>
                      <a:pt x="56087" y="80105"/>
                    </a:lnTo>
                    <a:cubicBezTo>
                      <a:pt x="72627" y="80105"/>
                      <a:pt x="82134" y="87249"/>
                      <a:pt x="82134" y="99631"/>
                    </a:cubicBezTo>
                    <a:close/>
                    <a:moveTo>
                      <a:pt x="64547" y="101822"/>
                    </a:moveTo>
                    <a:cubicBezTo>
                      <a:pt x="64547" y="96679"/>
                      <a:pt x="60650" y="93821"/>
                      <a:pt x="52379" y="93821"/>
                    </a:cubicBezTo>
                    <a:lnTo>
                      <a:pt x="31466" y="93821"/>
                    </a:lnTo>
                    <a:cubicBezTo>
                      <a:pt x="22720" y="93821"/>
                      <a:pt x="17111" y="96488"/>
                      <a:pt x="17111" y="102394"/>
                    </a:cubicBezTo>
                    <a:cubicBezTo>
                      <a:pt x="17111" y="109728"/>
                      <a:pt x="26427" y="113348"/>
                      <a:pt x="41257" y="113348"/>
                    </a:cubicBezTo>
                    <a:cubicBezTo>
                      <a:pt x="57608" y="113348"/>
                      <a:pt x="64452" y="108680"/>
                      <a:pt x="64452" y="101822"/>
                    </a:cubicBezTo>
                    <a:close/>
                    <a:moveTo>
                      <a:pt x="20153" y="41624"/>
                    </a:moveTo>
                    <a:cubicBezTo>
                      <a:pt x="20153" y="50864"/>
                      <a:pt x="26902" y="56579"/>
                      <a:pt x="37740" y="56579"/>
                    </a:cubicBezTo>
                    <a:cubicBezTo>
                      <a:pt x="48577" y="56579"/>
                      <a:pt x="55326" y="50768"/>
                      <a:pt x="55326" y="41624"/>
                    </a:cubicBezTo>
                    <a:cubicBezTo>
                      <a:pt x="55326" y="32480"/>
                      <a:pt x="48672" y="26670"/>
                      <a:pt x="37740" y="26670"/>
                    </a:cubicBezTo>
                    <a:cubicBezTo>
                      <a:pt x="26808" y="26670"/>
                      <a:pt x="20153" y="32480"/>
                      <a:pt x="20153" y="4162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4DBE09BF-87A3-C5DC-AFB9-244CE800E1B5}"/>
                  </a:ext>
                </a:extLst>
              </p:cNvPr>
              <p:cNvSpPr/>
              <p:nvPr/>
            </p:nvSpPr>
            <p:spPr>
              <a:xfrm>
                <a:off x="7081699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388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1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10C0541-F54D-AE4C-B14A-3D05FFE9E056}"/>
                  </a:ext>
                </a:extLst>
              </p:cNvPr>
              <p:cNvSpPr/>
              <p:nvPr/>
            </p:nvSpPr>
            <p:spPr>
              <a:xfrm>
                <a:off x="7220394" y="3904773"/>
                <a:ext cx="74813" cy="79533"/>
              </a:xfrm>
              <a:custGeom>
                <a:avLst/>
                <a:gdLst>
                  <a:gd name="connsiteX0" fmla="*/ 0 w 74813"/>
                  <a:gd name="connsiteY0" fmla="*/ 56198 h 79533"/>
                  <a:gd name="connsiteX1" fmla="*/ 28804 w 74813"/>
                  <a:gd name="connsiteY1" fmla="*/ 35243 h 79533"/>
                  <a:gd name="connsiteX2" fmla="*/ 57322 w 74813"/>
                  <a:gd name="connsiteY2" fmla="*/ 35243 h 79533"/>
                  <a:gd name="connsiteX3" fmla="*/ 57322 w 74813"/>
                  <a:gd name="connsiteY3" fmla="*/ 29813 h 79533"/>
                  <a:gd name="connsiteX4" fmla="*/ 37074 w 74813"/>
                  <a:gd name="connsiteY4" fmla="*/ 13145 h 79533"/>
                  <a:gd name="connsiteX5" fmla="*/ 18537 w 74813"/>
                  <a:gd name="connsiteY5" fmla="*/ 26289 h 79533"/>
                  <a:gd name="connsiteX6" fmla="*/ 18727 w 74813"/>
                  <a:gd name="connsiteY6" fmla="*/ 29242 h 79533"/>
                  <a:gd name="connsiteX7" fmla="*/ 2662 w 74813"/>
                  <a:gd name="connsiteY7" fmla="*/ 29242 h 79533"/>
                  <a:gd name="connsiteX8" fmla="*/ 2377 w 74813"/>
                  <a:gd name="connsiteY8" fmla="*/ 24670 h 79533"/>
                  <a:gd name="connsiteX9" fmla="*/ 37740 w 74813"/>
                  <a:gd name="connsiteY9" fmla="*/ 0 h 79533"/>
                  <a:gd name="connsiteX10" fmla="*/ 74814 w 74813"/>
                  <a:gd name="connsiteY10" fmla="*/ 31337 h 79533"/>
                  <a:gd name="connsiteX11" fmla="*/ 74814 w 74813"/>
                  <a:gd name="connsiteY11" fmla="*/ 78296 h 79533"/>
                  <a:gd name="connsiteX12" fmla="*/ 57322 w 74813"/>
                  <a:gd name="connsiteY12" fmla="*/ 78296 h 79533"/>
                  <a:gd name="connsiteX13" fmla="*/ 58083 w 74813"/>
                  <a:gd name="connsiteY13" fmla="*/ 61246 h 79533"/>
                  <a:gd name="connsiteX14" fmla="*/ 57893 w 74813"/>
                  <a:gd name="connsiteY14" fmla="*/ 61246 h 79533"/>
                  <a:gd name="connsiteX15" fmla="*/ 29279 w 74813"/>
                  <a:gd name="connsiteY15" fmla="*/ 79534 h 79533"/>
                  <a:gd name="connsiteX16" fmla="*/ 0 w 74813"/>
                  <a:gd name="connsiteY16" fmla="*/ 56102 h 79533"/>
                  <a:gd name="connsiteX17" fmla="*/ 57322 w 74813"/>
                  <a:gd name="connsiteY17" fmla="*/ 47339 h 79533"/>
                  <a:gd name="connsiteX18" fmla="*/ 57322 w 74813"/>
                  <a:gd name="connsiteY18" fmla="*/ 45910 h 79533"/>
                  <a:gd name="connsiteX19" fmla="*/ 30420 w 74813"/>
                  <a:gd name="connsiteY19" fmla="*/ 45910 h 79533"/>
                  <a:gd name="connsiteX20" fmla="*/ 16066 w 74813"/>
                  <a:gd name="connsiteY20" fmla="*/ 55435 h 79533"/>
                  <a:gd name="connsiteX21" fmla="*/ 32891 w 74813"/>
                  <a:gd name="connsiteY21" fmla="*/ 66485 h 79533"/>
                  <a:gd name="connsiteX22" fmla="*/ 57322 w 74813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813" h="79533">
                    <a:moveTo>
                      <a:pt x="0" y="56198"/>
                    </a:moveTo>
                    <a:cubicBezTo>
                      <a:pt x="0" y="44482"/>
                      <a:pt x="8270" y="35243"/>
                      <a:pt x="28804" y="35243"/>
                    </a:cubicBezTo>
                    <a:lnTo>
                      <a:pt x="57322" y="35243"/>
                    </a:lnTo>
                    <a:lnTo>
                      <a:pt x="57322" y="29813"/>
                    </a:lnTo>
                    <a:cubicBezTo>
                      <a:pt x="57322" y="18288"/>
                      <a:pt x="50668" y="13145"/>
                      <a:pt x="37074" y="13145"/>
                    </a:cubicBezTo>
                    <a:cubicBezTo>
                      <a:pt x="25287" y="13145"/>
                      <a:pt x="18537" y="17717"/>
                      <a:pt x="18537" y="26289"/>
                    </a:cubicBezTo>
                    <a:cubicBezTo>
                      <a:pt x="18537" y="26765"/>
                      <a:pt x="18537" y="28004"/>
                      <a:pt x="18727" y="29242"/>
                    </a:cubicBezTo>
                    <a:lnTo>
                      <a:pt x="2662" y="29242"/>
                    </a:lnTo>
                    <a:cubicBezTo>
                      <a:pt x="2472" y="28099"/>
                      <a:pt x="2377" y="26099"/>
                      <a:pt x="2377" y="24670"/>
                    </a:cubicBezTo>
                    <a:cubicBezTo>
                      <a:pt x="2377" y="9239"/>
                      <a:pt x="15780" y="0"/>
                      <a:pt x="37740" y="0"/>
                    </a:cubicBezTo>
                    <a:cubicBezTo>
                      <a:pt x="61125" y="0"/>
                      <a:pt x="74814" y="11049"/>
                      <a:pt x="74814" y="31337"/>
                    </a:cubicBezTo>
                    <a:lnTo>
                      <a:pt x="74814" y="78296"/>
                    </a:lnTo>
                    <a:lnTo>
                      <a:pt x="57322" y="78296"/>
                    </a:lnTo>
                    <a:cubicBezTo>
                      <a:pt x="57608" y="74581"/>
                      <a:pt x="58083" y="67532"/>
                      <a:pt x="58083" y="61246"/>
                    </a:cubicBezTo>
                    <a:lnTo>
                      <a:pt x="57893" y="61246"/>
                    </a:lnTo>
                    <a:cubicBezTo>
                      <a:pt x="55421" y="72676"/>
                      <a:pt x="46200" y="79534"/>
                      <a:pt x="29279" y="79534"/>
                    </a:cubicBezTo>
                    <a:cubicBezTo>
                      <a:pt x="12358" y="79534"/>
                      <a:pt x="0" y="71152"/>
                      <a:pt x="0" y="56102"/>
                    </a:cubicBezTo>
                    <a:close/>
                    <a:moveTo>
                      <a:pt x="57322" y="47339"/>
                    </a:moveTo>
                    <a:lnTo>
                      <a:pt x="57322" y="45910"/>
                    </a:lnTo>
                    <a:lnTo>
                      <a:pt x="30420" y="45910"/>
                    </a:lnTo>
                    <a:cubicBezTo>
                      <a:pt x="20438" y="45910"/>
                      <a:pt x="16066" y="49340"/>
                      <a:pt x="16066" y="55435"/>
                    </a:cubicBezTo>
                    <a:cubicBezTo>
                      <a:pt x="16066" y="62484"/>
                      <a:pt x="22340" y="66485"/>
                      <a:pt x="32891" y="66485"/>
                    </a:cubicBezTo>
                    <a:cubicBezTo>
                      <a:pt x="48006" y="66485"/>
                      <a:pt x="57322" y="59150"/>
                      <a:pt x="57322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0E76778D-4F77-CD33-9E6B-C82EF5B03585}"/>
                  </a:ext>
                </a:extLst>
              </p:cNvPr>
              <p:cNvSpPr/>
              <p:nvPr/>
            </p:nvSpPr>
            <p:spPr>
              <a:xfrm>
                <a:off x="7311844" y="3904773"/>
                <a:ext cx="70251" cy="78295"/>
              </a:xfrm>
              <a:custGeom>
                <a:avLst/>
                <a:gdLst>
                  <a:gd name="connsiteX0" fmla="*/ 0 w 70251"/>
                  <a:gd name="connsiteY0" fmla="*/ 1238 h 78295"/>
                  <a:gd name="connsiteX1" fmla="*/ 17491 w 70251"/>
                  <a:gd name="connsiteY1" fmla="*/ 1238 h 78295"/>
                  <a:gd name="connsiteX2" fmla="*/ 16826 w 70251"/>
                  <a:gd name="connsiteY2" fmla="*/ 23432 h 78295"/>
                  <a:gd name="connsiteX3" fmla="*/ 17016 w 70251"/>
                  <a:gd name="connsiteY3" fmla="*/ 23432 h 78295"/>
                  <a:gd name="connsiteX4" fmla="*/ 44394 w 70251"/>
                  <a:gd name="connsiteY4" fmla="*/ 0 h 78295"/>
                  <a:gd name="connsiteX5" fmla="*/ 70251 w 70251"/>
                  <a:gd name="connsiteY5" fmla="*/ 30099 h 78295"/>
                  <a:gd name="connsiteX6" fmla="*/ 69490 w 70251"/>
                  <a:gd name="connsiteY6" fmla="*/ 44482 h 78295"/>
                  <a:gd name="connsiteX7" fmla="*/ 53615 w 70251"/>
                  <a:gd name="connsiteY7" fmla="*/ 44482 h 78295"/>
                  <a:gd name="connsiteX8" fmla="*/ 54280 w 70251"/>
                  <a:gd name="connsiteY8" fmla="*/ 34004 h 78295"/>
                  <a:gd name="connsiteX9" fmla="*/ 39071 w 70251"/>
                  <a:gd name="connsiteY9" fmla="*/ 14954 h 78295"/>
                  <a:gd name="connsiteX10" fmla="*/ 17587 w 70251"/>
                  <a:gd name="connsiteY10" fmla="*/ 44577 h 78295"/>
                  <a:gd name="connsiteX11" fmla="*/ 17587 w 70251"/>
                  <a:gd name="connsiteY11" fmla="*/ 78296 h 78295"/>
                  <a:gd name="connsiteX12" fmla="*/ 95 w 70251"/>
                  <a:gd name="connsiteY12" fmla="*/ 78296 h 78295"/>
                  <a:gd name="connsiteX13" fmla="*/ 95 w 70251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1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9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9071" y="14954"/>
                    </a:cubicBezTo>
                    <a:cubicBezTo>
                      <a:pt x="25857" y="14954"/>
                      <a:pt x="17587" y="26194"/>
                      <a:pt x="17587" y="44577"/>
                    </a:cubicBezTo>
                    <a:lnTo>
                      <a:pt x="17587" y="78296"/>
                    </a:lnTo>
                    <a:lnTo>
                      <a:pt x="95" y="78296"/>
                    </a:lnTo>
                    <a:lnTo>
                      <a:pt x="95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B132FE3C-6126-9368-DA5D-1BB1D286FEA4}"/>
                  </a:ext>
                </a:extLst>
              </p:cNvPr>
              <p:cNvSpPr/>
              <p:nvPr/>
            </p:nvSpPr>
            <p:spPr>
              <a:xfrm>
                <a:off x="7397495" y="3874865"/>
                <a:ext cx="83749" cy="108204"/>
              </a:xfrm>
              <a:custGeom>
                <a:avLst/>
                <a:gdLst>
                  <a:gd name="connsiteX0" fmla="*/ 0 w 83749"/>
                  <a:gd name="connsiteY0" fmla="*/ 95 h 108204"/>
                  <a:gd name="connsiteX1" fmla="*/ 17491 w 83749"/>
                  <a:gd name="connsiteY1" fmla="*/ 95 h 108204"/>
                  <a:gd name="connsiteX2" fmla="*/ 17491 w 83749"/>
                  <a:gd name="connsiteY2" fmla="*/ 71533 h 108204"/>
                  <a:gd name="connsiteX3" fmla="*/ 17681 w 83749"/>
                  <a:gd name="connsiteY3" fmla="*/ 71533 h 108204"/>
                  <a:gd name="connsiteX4" fmla="*/ 59129 w 83749"/>
                  <a:gd name="connsiteY4" fmla="*/ 31147 h 108204"/>
                  <a:gd name="connsiteX5" fmla="*/ 81753 w 83749"/>
                  <a:gd name="connsiteY5" fmla="*/ 31147 h 108204"/>
                  <a:gd name="connsiteX6" fmla="*/ 45725 w 83749"/>
                  <a:gd name="connsiteY6" fmla="*/ 64675 h 108204"/>
                  <a:gd name="connsiteX7" fmla="*/ 83750 w 83749"/>
                  <a:gd name="connsiteY7" fmla="*/ 108204 h 108204"/>
                  <a:gd name="connsiteX8" fmla="*/ 60079 w 83749"/>
                  <a:gd name="connsiteY8" fmla="*/ 108204 h 108204"/>
                  <a:gd name="connsiteX9" fmla="*/ 32987 w 83749"/>
                  <a:gd name="connsiteY9" fmla="*/ 75724 h 108204"/>
                  <a:gd name="connsiteX10" fmla="*/ 17587 w 83749"/>
                  <a:gd name="connsiteY10" fmla="*/ 89916 h 108204"/>
                  <a:gd name="connsiteX11" fmla="*/ 17587 w 83749"/>
                  <a:gd name="connsiteY11" fmla="*/ 108204 h 108204"/>
                  <a:gd name="connsiteX12" fmla="*/ 95 w 83749"/>
                  <a:gd name="connsiteY12" fmla="*/ 108204 h 108204"/>
                  <a:gd name="connsiteX13" fmla="*/ 95 w 83749"/>
                  <a:gd name="connsiteY13" fmla="*/ 0 h 10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749" h="108204">
                    <a:moveTo>
                      <a:pt x="0" y="95"/>
                    </a:moveTo>
                    <a:lnTo>
                      <a:pt x="17491" y="95"/>
                    </a:lnTo>
                    <a:lnTo>
                      <a:pt x="17491" y="71533"/>
                    </a:lnTo>
                    <a:lnTo>
                      <a:pt x="17681" y="71533"/>
                    </a:lnTo>
                    <a:lnTo>
                      <a:pt x="59129" y="31147"/>
                    </a:lnTo>
                    <a:lnTo>
                      <a:pt x="81753" y="31147"/>
                    </a:lnTo>
                    <a:lnTo>
                      <a:pt x="45725" y="64675"/>
                    </a:lnTo>
                    <a:lnTo>
                      <a:pt x="83750" y="108204"/>
                    </a:lnTo>
                    <a:lnTo>
                      <a:pt x="60079" y="108204"/>
                    </a:lnTo>
                    <a:lnTo>
                      <a:pt x="32987" y="75724"/>
                    </a:lnTo>
                    <a:lnTo>
                      <a:pt x="17587" y="89916"/>
                    </a:lnTo>
                    <a:lnTo>
                      <a:pt x="17587" y="108204"/>
                    </a:lnTo>
                    <a:lnTo>
                      <a:pt x="95" y="108204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2C0B5C92-16E9-B775-81DA-091B46B8917E}"/>
                  </a:ext>
                </a:extLst>
              </p:cNvPr>
              <p:cNvSpPr/>
              <p:nvPr/>
            </p:nvSpPr>
            <p:spPr>
              <a:xfrm>
                <a:off x="7484762" y="3904868"/>
                <a:ext cx="75194" cy="79533"/>
              </a:xfrm>
              <a:custGeom>
                <a:avLst/>
                <a:gdLst>
                  <a:gd name="connsiteX0" fmla="*/ 75099 w 75194"/>
                  <a:gd name="connsiteY0" fmla="*/ 43148 h 79533"/>
                  <a:gd name="connsiteX1" fmla="*/ 17491 w 75194"/>
                  <a:gd name="connsiteY1" fmla="*/ 43148 h 79533"/>
                  <a:gd name="connsiteX2" fmla="*/ 39736 w 75194"/>
                  <a:gd name="connsiteY2" fmla="*/ 65913 h 79533"/>
                  <a:gd name="connsiteX3" fmla="*/ 59414 w 75194"/>
                  <a:gd name="connsiteY3" fmla="*/ 51911 h 79533"/>
                  <a:gd name="connsiteX4" fmla="*/ 75194 w 75194"/>
                  <a:gd name="connsiteY4" fmla="*/ 51911 h 79533"/>
                  <a:gd name="connsiteX5" fmla="*/ 39546 w 75194"/>
                  <a:gd name="connsiteY5" fmla="*/ 79534 h 79533"/>
                  <a:gd name="connsiteX6" fmla="*/ 0 w 75194"/>
                  <a:gd name="connsiteY6" fmla="*/ 40386 h 79533"/>
                  <a:gd name="connsiteX7" fmla="*/ 39546 w 75194"/>
                  <a:gd name="connsiteY7" fmla="*/ 0 h 79533"/>
                  <a:gd name="connsiteX8" fmla="*/ 75194 w 75194"/>
                  <a:gd name="connsiteY8" fmla="*/ 36957 h 79533"/>
                  <a:gd name="connsiteX9" fmla="*/ 75194 w 75194"/>
                  <a:gd name="connsiteY9" fmla="*/ 43244 h 79533"/>
                  <a:gd name="connsiteX10" fmla="*/ 59319 w 75194"/>
                  <a:gd name="connsiteY10" fmla="*/ 31433 h 79533"/>
                  <a:gd name="connsiteX11" fmla="*/ 39546 w 75194"/>
                  <a:gd name="connsiteY11" fmla="*/ 13525 h 79533"/>
                  <a:gd name="connsiteX12" fmla="*/ 17872 w 75194"/>
                  <a:gd name="connsiteY12" fmla="*/ 32575 h 79533"/>
                  <a:gd name="connsiteX13" fmla="*/ 59319 w 75194"/>
                  <a:gd name="connsiteY13" fmla="*/ 32575 h 79533"/>
                  <a:gd name="connsiteX14" fmla="*/ 59319 w 75194"/>
                  <a:gd name="connsiteY14" fmla="*/ 31528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194" h="79533">
                    <a:moveTo>
                      <a:pt x="75099" y="43148"/>
                    </a:moveTo>
                    <a:lnTo>
                      <a:pt x="17491" y="43148"/>
                    </a:lnTo>
                    <a:cubicBezTo>
                      <a:pt x="18442" y="58007"/>
                      <a:pt x="26712" y="65913"/>
                      <a:pt x="39736" y="65913"/>
                    </a:cubicBezTo>
                    <a:cubicBezTo>
                      <a:pt x="50953" y="65913"/>
                      <a:pt x="58558" y="60960"/>
                      <a:pt x="59414" y="51911"/>
                    </a:cubicBezTo>
                    <a:lnTo>
                      <a:pt x="75194" y="51911"/>
                    </a:lnTo>
                    <a:cubicBezTo>
                      <a:pt x="74529" y="69056"/>
                      <a:pt x="60555" y="79534"/>
                      <a:pt x="39546" y="79534"/>
                    </a:cubicBezTo>
                    <a:cubicBezTo>
                      <a:pt x="15210" y="79534"/>
                      <a:pt x="0" y="64579"/>
                      <a:pt x="0" y="40386"/>
                    </a:cubicBezTo>
                    <a:cubicBezTo>
                      <a:pt x="0" y="16193"/>
                      <a:pt x="15305" y="0"/>
                      <a:pt x="39546" y="0"/>
                    </a:cubicBezTo>
                    <a:cubicBezTo>
                      <a:pt x="61315" y="0"/>
                      <a:pt x="75194" y="12954"/>
                      <a:pt x="75194" y="36957"/>
                    </a:cubicBezTo>
                    <a:lnTo>
                      <a:pt x="75194" y="43244"/>
                    </a:lnTo>
                    <a:close/>
                    <a:moveTo>
                      <a:pt x="59319" y="31433"/>
                    </a:moveTo>
                    <a:cubicBezTo>
                      <a:pt x="59319" y="19907"/>
                      <a:pt x="52189" y="13525"/>
                      <a:pt x="39546" y="13525"/>
                    </a:cubicBezTo>
                    <a:cubicBezTo>
                      <a:pt x="26903" y="13525"/>
                      <a:pt x="19963" y="19812"/>
                      <a:pt x="17872" y="32575"/>
                    </a:cubicBezTo>
                    <a:lnTo>
                      <a:pt x="59319" y="32575"/>
                    </a:lnTo>
                    <a:lnTo>
                      <a:pt x="59319" y="3152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836A7DFA-3099-DBCD-9C0F-8BCFF969D273}"/>
                  </a:ext>
                </a:extLst>
              </p:cNvPr>
              <p:cNvSpPr/>
              <p:nvPr/>
            </p:nvSpPr>
            <p:spPr>
              <a:xfrm>
                <a:off x="7567751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1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302979C7-3D04-579F-F501-7A5B02C926B9}"/>
                  </a:ext>
                </a:extLst>
              </p:cNvPr>
              <p:cNvSpPr/>
              <p:nvPr/>
            </p:nvSpPr>
            <p:spPr>
              <a:xfrm>
                <a:off x="763334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3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2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0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3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</p:grpSp>
      </p:grpSp>
      <p:sp>
        <p:nvSpPr>
          <p:cNvPr id="8" name="Graphic 8">
            <a:extLst>
              <a:ext uri="{FF2B5EF4-FFF2-40B4-BE49-F238E27FC236}">
                <a16:creationId xmlns:a16="http://schemas.microsoft.com/office/drawing/2014/main" id="{A36D3B19-7533-C1F6-01CA-25CC48B61A1C}"/>
              </a:ext>
            </a:extLst>
          </p:cNvPr>
          <p:cNvSpPr>
            <a:spLocks noChangeAspect="1"/>
          </p:cNvSpPr>
          <p:nvPr userDrawn="1"/>
        </p:nvSpPr>
        <p:spPr>
          <a:xfrm>
            <a:off x="11369709" y="0"/>
            <a:ext cx="4797892" cy="11309350"/>
          </a:xfrm>
          <a:custGeom>
            <a:avLst/>
            <a:gdLst>
              <a:gd name="connsiteX0" fmla="*/ 2509447 w 2909650"/>
              <a:gd name="connsiteY0" fmla="*/ 180594 h 6858000"/>
              <a:gd name="connsiteX1" fmla="*/ 2909651 w 2909650"/>
              <a:gd name="connsiteY1" fmla="*/ 0 h 6858000"/>
              <a:gd name="connsiteX2" fmla="*/ 2223334 w 2909650"/>
              <a:gd name="connsiteY2" fmla="*/ 0 h 6858000"/>
              <a:gd name="connsiteX3" fmla="*/ 1937474 w 2909650"/>
              <a:gd name="connsiteY3" fmla="*/ 154750 h 6858000"/>
              <a:gd name="connsiteX4" fmla="*/ 41345 w 2909650"/>
              <a:gd name="connsiteY4" fmla="*/ 3013901 h 6858000"/>
              <a:gd name="connsiteX5" fmla="*/ 1692288 w 2909650"/>
              <a:gd name="connsiteY5" fmla="*/ 6858000 h 6858000"/>
              <a:gd name="connsiteX6" fmla="*/ 2048645 w 2909650"/>
              <a:gd name="connsiteY6" fmla="*/ 6858000 h 6858000"/>
              <a:gd name="connsiteX7" fmla="*/ 722205 w 2909650"/>
              <a:gd name="connsiteY7" fmla="*/ 5293106 h 6858000"/>
              <a:gd name="connsiteX8" fmla="*/ 639779 w 2909650"/>
              <a:gd name="connsiteY8" fmla="*/ 2390775 h 6858000"/>
              <a:gd name="connsiteX9" fmla="*/ 2509447 w 2909650"/>
              <a:gd name="connsiteY9" fmla="*/ 1805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09650" h="6858000">
                <a:moveTo>
                  <a:pt x="2509447" y="180594"/>
                </a:moveTo>
                <a:cubicBezTo>
                  <a:pt x="2640226" y="111760"/>
                  <a:pt x="2773796" y="51562"/>
                  <a:pt x="2909651" y="0"/>
                </a:cubicBezTo>
                <a:lnTo>
                  <a:pt x="2223334" y="0"/>
                </a:lnTo>
                <a:cubicBezTo>
                  <a:pt x="2126567" y="47498"/>
                  <a:pt x="2031195" y="99124"/>
                  <a:pt x="1937474" y="154750"/>
                </a:cubicBezTo>
                <a:cubicBezTo>
                  <a:pt x="904635" y="768668"/>
                  <a:pt x="213495" y="1810830"/>
                  <a:pt x="41345" y="3013901"/>
                </a:cubicBezTo>
                <a:cubicBezTo>
                  <a:pt x="-179475" y="4511612"/>
                  <a:pt x="500497" y="6005132"/>
                  <a:pt x="1692288" y="6858000"/>
                </a:cubicBezTo>
                <a:lnTo>
                  <a:pt x="2048645" y="6858000"/>
                </a:lnTo>
                <a:cubicBezTo>
                  <a:pt x="1465694" y="6480620"/>
                  <a:pt x="1007050" y="5943664"/>
                  <a:pt x="722205" y="5293106"/>
                </a:cubicBezTo>
                <a:cubicBezTo>
                  <a:pt x="328220" y="4393375"/>
                  <a:pt x="298968" y="3362643"/>
                  <a:pt x="639779" y="2390775"/>
                </a:cubicBezTo>
                <a:cubicBezTo>
                  <a:pt x="979764" y="1420940"/>
                  <a:pt x="1643175" y="635699"/>
                  <a:pt x="2509447" y="180594"/>
                </a:cubicBezTo>
                <a:close/>
              </a:path>
            </a:pathLst>
          </a:custGeom>
          <a:solidFill>
            <a:srgbClr val="47D985"/>
          </a:solidFill>
          <a:ln w="63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</p:spTree>
    <p:extLst>
      <p:ext uri="{BB962C8B-B14F-4D97-AF65-F5344CB8AC3E}">
        <p14:creationId xmlns:p14="http://schemas.microsoft.com/office/powerpoint/2010/main" val="282382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4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4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/>
      <p:bldP spid="8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(wi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ACE6FAF9-7846-146C-6D08-D1DF65DF7E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40D1306-286B-D86B-C6B5-BC2A0E54B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5" y="1924161"/>
            <a:ext cx="17931391" cy="3081513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719" b="1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Presentation title goes in this space he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4A8F2DB-B148-88A1-2854-99FF5E6E5E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6" y="5382515"/>
            <a:ext cx="8431680" cy="1033768"/>
          </a:xfrm>
        </p:spPr>
        <p:txBody>
          <a:bodyPr>
            <a:normAutofit/>
          </a:bodyPr>
          <a:lstStyle>
            <a:lvl1pPr marL="0" indent="0">
              <a:buNone/>
              <a:defRPr sz="4617" b="0">
                <a:solidFill>
                  <a:srgbClr val="47D985"/>
                </a:solidFill>
              </a:defRPr>
            </a:lvl1pPr>
          </a:lstStyle>
          <a:p>
            <a:pPr lvl="0"/>
            <a:r>
              <a:rPr lang="en-GB"/>
              <a:t>25.08.2022</a:t>
            </a:r>
          </a:p>
        </p:txBody>
      </p:sp>
      <p:grpSp>
        <p:nvGrpSpPr>
          <p:cNvPr id="7" name="Graphic 77">
            <a:extLst>
              <a:ext uri="{FF2B5EF4-FFF2-40B4-BE49-F238E27FC236}">
                <a16:creationId xmlns:a16="http://schemas.microsoft.com/office/drawing/2014/main" id="{C014E542-CDFB-7E1A-E7C4-08753D29D4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6354" y="8054103"/>
            <a:ext cx="4203553" cy="1538843"/>
            <a:chOff x="4489439" y="2838428"/>
            <a:chExt cx="3217768" cy="1177883"/>
          </a:xfrm>
          <a:solidFill>
            <a:schemeClr val="bg1"/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FD128CD8-58A7-1CDD-7EA4-3325A1AAC7E1}"/>
                </a:ext>
              </a:extLst>
            </p:cNvPr>
            <p:cNvSpPr/>
            <p:nvPr/>
          </p:nvSpPr>
          <p:spPr>
            <a:xfrm>
              <a:off x="4489439" y="2838428"/>
              <a:ext cx="3217388" cy="1177883"/>
            </a:xfrm>
            <a:custGeom>
              <a:avLst/>
              <a:gdLst>
                <a:gd name="connsiteX0" fmla="*/ 1527089 w 3217388"/>
                <a:gd name="connsiteY0" fmla="*/ 295107 h 1177883"/>
                <a:gd name="connsiteX1" fmla="*/ 1705520 w 3217388"/>
                <a:gd name="connsiteY1" fmla="*/ 295107 h 1177883"/>
                <a:gd name="connsiteX2" fmla="*/ 1705520 w 3217388"/>
                <a:gd name="connsiteY2" fmla="*/ 947283 h 1177883"/>
                <a:gd name="connsiteX3" fmla="*/ 1527089 w 3217388"/>
                <a:gd name="connsiteY3" fmla="*/ 947283 h 1177883"/>
                <a:gd name="connsiteX4" fmla="*/ 1527089 w 3217388"/>
                <a:gd name="connsiteY4" fmla="*/ 295107 h 1177883"/>
                <a:gd name="connsiteX5" fmla="*/ 2318481 w 3217388"/>
                <a:gd name="connsiteY5" fmla="*/ 4403 h 1177883"/>
                <a:gd name="connsiteX6" fmla="*/ 2318481 w 3217388"/>
                <a:gd name="connsiteY6" fmla="*/ 386070 h 1177883"/>
                <a:gd name="connsiteX7" fmla="*/ 2100884 w 3217388"/>
                <a:gd name="connsiteY7" fmla="*/ 274533 h 1177883"/>
                <a:gd name="connsiteX8" fmla="*/ 1939848 w 3217388"/>
                <a:gd name="connsiteY8" fmla="*/ 318919 h 1177883"/>
                <a:gd name="connsiteX9" fmla="*/ 1819785 w 3217388"/>
                <a:gd name="connsiteY9" fmla="*/ 441792 h 1177883"/>
                <a:gd name="connsiteX10" fmla="*/ 1776817 w 3217388"/>
                <a:gd name="connsiteY10" fmla="*/ 620576 h 1177883"/>
                <a:gd name="connsiteX11" fmla="*/ 1819785 w 3217388"/>
                <a:gd name="connsiteY11" fmla="*/ 800027 h 1177883"/>
                <a:gd name="connsiteX12" fmla="*/ 1940419 w 3217388"/>
                <a:gd name="connsiteY12" fmla="*/ 922899 h 1177883"/>
                <a:gd name="connsiteX13" fmla="*/ 2111816 w 3217388"/>
                <a:gd name="connsiteY13" fmla="*/ 966619 h 1177883"/>
                <a:gd name="connsiteX14" fmla="*/ 2318481 w 3217388"/>
                <a:gd name="connsiteY14" fmla="*/ 864606 h 1177883"/>
                <a:gd name="connsiteX15" fmla="*/ 2318481 w 3217388"/>
                <a:gd name="connsiteY15" fmla="*/ 947283 h 1177883"/>
                <a:gd name="connsiteX16" fmla="*/ 2496913 w 3217388"/>
                <a:gd name="connsiteY16" fmla="*/ 947283 h 1177883"/>
                <a:gd name="connsiteX17" fmla="*/ 2496913 w 3217388"/>
                <a:gd name="connsiteY17" fmla="*/ 4403 h 1177883"/>
                <a:gd name="connsiteX18" fmla="*/ 2318481 w 3217388"/>
                <a:gd name="connsiteY18" fmla="*/ 4403 h 1177883"/>
                <a:gd name="connsiteX19" fmla="*/ 2146323 w 3217388"/>
                <a:gd name="connsiteY19" fmla="*/ 813648 h 1177883"/>
                <a:gd name="connsiteX20" fmla="*/ 1957815 w 3217388"/>
                <a:gd name="connsiteY20" fmla="*/ 620576 h 1177883"/>
                <a:gd name="connsiteX21" fmla="*/ 2146323 w 3217388"/>
                <a:gd name="connsiteY21" fmla="*/ 427504 h 1177883"/>
                <a:gd name="connsiteX22" fmla="*/ 2334832 w 3217388"/>
                <a:gd name="connsiteY22" fmla="*/ 620576 h 1177883"/>
                <a:gd name="connsiteX23" fmla="*/ 2146323 w 3217388"/>
                <a:gd name="connsiteY23" fmla="*/ 813648 h 1177883"/>
                <a:gd name="connsiteX24" fmla="*/ 3186113 w 3217388"/>
                <a:gd name="connsiteY24" fmla="*/ 403787 h 1177883"/>
                <a:gd name="connsiteX25" fmla="*/ 3097515 w 3217388"/>
                <a:gd name="connsiteY25" fmla="*/ 307298 h 1177883"/>
                <a:gd name="connsiteX26" fmla="*/ 2959485 w 3217388"/>
                <a:gd name="connsiteY26" fmla="*/ 274533 h 1177883"/>
                <a:gd name="connsiteX27" fmla="*/ 2759189 w 3217388"/>
                <a:gd name="connsiteY27" fmla="*/ 385975 h 1177883"/>
                <a:gd name="connsiteX28" fmla="*/ 2759189 w 3217388"/>
                <a:gd name="connsiteY28" fmla="*/ 4403 h 1177883"/>
                <a:gd name="connsiteX29" fmla="*/ 2580567 w 3217388"/>
                <a:gd name="connsiteY29" fmla="*/ 4403 h 1177883"/>
                <a:gd name="connsiteX30" fmla="*/ 2580567 w 3217388"/>
                <a:gd name="connsiteY30" fmla="*/ 947283 h 1177883"/>
                <a:gd name="connsiteX31" fmla="*/ 2759094 w 3217388"/>
                <a:gd name="connsiteY31" fmla="*/ 947283 h 1177883"/>
                <a:gd name="connsiteX32" fmla="*/ 2759094 w 3217388"/>
                <a:gd name="connsiteY32" fmla="*/ 598097 h 1177883"/>
                <a:gd name="connsiteX33" fmla="*/ 2902162 w 3217388"/>
                <a:gd name="connsiteY33" fmla="*/ 429219 h 1177883"/>
                <a:gd name="connsiteX34" fmla="*/ 3038957 w 3217388"/>
                <a:gd name="connsiteY34" fmla="*/ 598097 h 1177883"/>
                <a:gd name="connsiteX35" fmla="*/ 3038957 w 3217388"/>
                <a:gd name="connsiteY35" fmla="*/ 947283 h 1177883"/>
                <a:gd name="connsiteX36" fmla="*/ 3217388 w 3217388"/>
                <a:gd name="connsiteY36" fmla="*/ 947283 h 1177883"/>
                <a:gd name="connsiteX37" fmla="*/ 3217388 w 3217388"/>
                <a:gd name="connsiteY37" fmla="*/ 560092 h 1177883"/>
                <a:gd name="connsiteX38" fmla="*/ 3185923 w 3217388"/>
                <a:gd name="connsiteY38" fmla="*/ 403787 h 1177883"/>
                <a:gd name="connsiteX39" fmla="*/ 1731282 w 3217388"/>
                <a:gd name="connsiteY39" fmla="*/ 100701 h 1177883"/>
                <a:gd name="connsiteX40" fmla="*/ 1615972 w 3217388"/>
                <a:gd name="connsiteY40" fmla="*/ 216906 h 1177883"/>
                <a:gd name="connsiteX41" fmla="*/ 1507221 w 3217388"/>
                <a:gd name="connsiteY41" fmla="*/ 156803 h 1177883"/>
                <a:gd name="connsiteX42" fmla="*/ 1560836 w 3217388"/>
                <a:gd name="connsiteY42" fmla="*/ 8499 h 1177883"/>
                <a:gd name="connsiteX43" fmla="*/ 1731187 w 3217388"/>
                <a:gd name="connsiteY43" fmla="*/ 100606 h 1177883"/>
                <a:gd name="connsiteX44" fmla="*/ 1731187 w 3217388"/>
                <a:gd name="connsiteY44" fmla="*/ 100606 h 1177883"/>
                <a:gd name="connsiteX45" fmla="*/ 243274 w 3217388"/>
                <a:gd name="connsiteY45" fmla="*/ 1020912 h 1177883"/>
                <a:gd name="connsiteX46" fmla="*/ 250974 w 3217388"/>
                <a:gd name="connsiteY46" fmla="*/ 1046439 h 1177883"/>
                <a:gd name="connsiteX47" fmla="*/ 217798 w 3217388"/>
                <a:gd name="connsiteY47" fmla="*/ 1047010 h 1177883"/>
                <a:gd name="connsiteX48" fmla="*/ 198975 w 3217388"/>
                <a:gd name="connsiteY48" fmla="*/ 1012625 h 1177883"/>
                <a:gd name="connsiteX49" fmla="*/ 243274 w 3217388"/>
                <a:gd name="connsiteY49" fmla="*/ 1020912 h 1177883"/>
                <a:gd name="connsiteX50" fmla="*/ 848820 w 3217388"/>
                <a:gd name="connsiteY50" fmla="*/ 564283 h 1177883"/>
                <a:gd name="connsiteX51" fmla="*/ 826290 w 3217388"/>
                <a:gd name="connsiteY51" fmla="*/ 650103 h 1177883"/>
                <a:gd name="connsiteX52" fmla="*/ 712121 w 3217388"/>
                <a:gd name="connsiteY52" fmla="*/ 716302 h 1177883"/>
                <a:gd name="connsiteX53" fmla="*/ 683507 w 3217388"/>
                <a:gd name="connsiteY53" fmla="*/ 719255 h 1177883"/>
                <a:gd name="connsiteX54" fmla="*/ 564489 w 3217388"/>
                <a:gd name="connsiteY54" fmla="*/ 646103 h 1177883"/>
                <a:gd name="connsiteX55" fmla="*/ 631223 w 3217388"/>
                <a:gd name="connsiteY55" fmla="*/ 446173 h 1177883"/>
                <a:gd name="connsiteX56" fmla="*/ 765451 w 3217388"/>
                <a:gd name="connsiteY56" fmla="*/ 454841 h 1177883"/>
                <a:gd name="connsiteX57" fmla="*/ 848915 w 3217388"/>
                <a:gd name="connsiteY57" fmla="*/ 563997 h 1177883"/>
                <a:gd name="connsiteX58" fmla="*/ 848915 w 3217388"/>
                <a:gd name="connsiteY58" fmla="*/ 564188 h 1177883"/>
                <a:gd name="connsiteX59" fmla="*/ 808039 w 3217388"/>
                <a:gd name="connsiteY59" fmla="*/ 570760 h 1177883"/>
                <a:gd name="connsiteX60" fmla="*/ 718680 w 3217388"/>
                <a:gd name="connsiteY60" fmla="*/ 484749 h 1177883"/>
                <a:gd name="connsiteX61" fmla="*/ 692158 w 3217388"/>
                <a:gd name="connsiteY61" fmla="*/ 481511 h 1177883"/>
                <a:gd name="connsiteX62" fmla="*/ 624759 w 3217388"/>
                <a:gd name="connsiteY62" fmla="*/ 514182 h 1177883"/>
                <a:gd name="connsiteX63" fmla="*/ 612211 w 3217388"/>
                <a:gd name="connsiteY63" fmla="*/ 626291 h 1177883"/>
                <a:gd name="connsiteX64" fmla="*/ 684933 w 3217388"/>
                <a:gd name="connsiteY64" fmla="*/ 671058 h 1177883"/>
                <a:gd name="connsiteX65" fmla="*/ 788076 w 3217388"/>
                <a:gd name="connsiteY65" fmla="*/ 630006 h 1177883"/>
                <a:gd name="connsiteX66" fmla="*/ 807943 w 3217388"/>
                <a:gd name="connsiteY66" fmla="*/ 570665 h 1177883"/>
                <a:gd name="connsiteX67" fmla="*/ 893024 w 3217388"/>
                <a:gd name="connsiteY67" fmla="*/ 502656 h 1177883"/>
                <a:gd name="connsiteX68" fmla="*/ 838173 w 3217388"/>
                <a:gd name="connsiteY68" fmla="*/ 782977 h 1177883"/>
                <a:gd name="connsiteX69" fmla="*/ 677043 w 3217388"/>
                <a:gd name="connsiteY69" fmla="*/ 846414 h 1177883"/>
                <a:gd name="connsiteX70" fmla="*/ 622097 w 3217388"/>
                <a:gd name="connsiteY70" fmla="*/ 840508 h 1177883"/>
                <a:gd name="connsiteX71" fmla="*/ 418569 w 3217388"/>
                <a:gd name="connsiteY71" fmla="*/ 675059 h 1177883"/>
                <a:gd name="connsiteX72" fmla="*/ 419710 w 3217388"/>
                <a:gd name="connsiteY72" fmla="*/ 475224 h 1177883"/>
                <a:gd name="connsiteX73" fmla="*/ 569147 w 3217388"/>
                <a:gd name="connsiteY73" fmla="*/ 334254 h 1177883"/>
                <a:gd name="connsiteX74" fmla="*/ 753663 w 3217388"/>
                <a:gd name="connsiteY74" fmla="*/ 342922 h 1177883"/>
                <a:gd name="connsiteX75" fmla="*/ 893024 w 3217388"/>
                <a:gd name="connsiteY75" fmla="*/ 502561 h 1177883"/>
                <a:gd name="connsiteX76" fmla="*/ 880381 w 3217388"/>
                <a:gd name="connsiteY76" fmla="*/ 507323 h 1177883"/>
                <a:gd name="connsiteX77" fmla="*/ 880381 w 3217388"/>
                <a:gd name="connsiteY77" fmla="*/ 507323 h 1177883"/>
                <a:gd name="connsiteX78" fmla="*/ 670198 w 3217388"/>
                <a:gd name="connsiteY78" fmla="*/ 370449 h 1177883"/>
                <a:gd name="connsiteX79" fmla="*/ 669153 w 3217388"/>
                <a:gd name="connsiteY79" fmla="*/ 370449 h 1177883"/>
                <a:gd name="connsiteX80" fmla="*/ 485588 w 3217388"/>
                <a:gd name="connsiteY80" fmla="*/ 460746 h 1177883"/>
                <a:gd name="connsiteX81" fmla="*/ 448704 w 3217388"/>
                <a:gd name="connsiteY81" fmla="*/ 664391 h 1177883"/>
                <a:gd name="connsiteX82" fmla="*/ 557170 w 3217388"/>
                <a:gd name="connsiteY82" fmla="*/ 793264 h 1177883"/>
                <a:gd name="connsiteX83" fmla="*/ 734270 w 3217388"/>
                <a:gd name="connsiteY83" fmla="*/ 794121 h 1177883"/>
                <a:gd name="connsiteX84" fmla="*/ 880381 w 3217388"/>
                <a:gd name="connsiteY84" fmla="*/ 507419 h 1177883"/>
                <a:gd name="connsiteX85" fmla="*/ 634645 w 3217388"/>
                <a:gd name="connsiteY85" fmla="*/ 996051 h 1177883"/>
                <a:gd name="connsiteX86" fmla="*/ 488535 w 3217388"/>
                <a:gd name="connsiteY86" fmla="*/ 966524 h 1177883"/>
                <a:gd name="connsiteX87" fmla="*/ 255062 w 3217388"/>
                <a:gd name="connsiteY87" fmla="*/ 426742 h 1177883"/>
                <a:gd name="connsiteX88" fmla="*/ 580460 w 3217388"/>
                <a:gd name="connsiteY88" fmla="*/ 157280 h 1177883"/>
                <a:gd name="connsiteX89" fmla="*/ 969359 w 3217388"/>
                <a:gd name="connsiteY89" fmla="*/ 317490 h 1177883"/>
                <a:gd name="connsiteX90" fmla="*/ 1014704 w 3217388"/>
                <a:gd name="connsiteY90" fmla="*/ 721255 h 1177883"/>
                <a:gd name="connsiteX91" fmla="*/ 785129 w 3217388"/>
                <a:gd name="connsiteY91" fmla="*/ 964714 h 1177883"/>
                <a:gd name="connsiteX92" fmla="*/ 634645 w 3217388"/>
                <a:gd name="connsiteY92" fmla="*/ 996051 h 1177883"/>
                <a:gd name="connsiteX93" fmla="*/ 1002631 w 3217388"/>
                <a:gd name="connsiteY93" fmla="*/ 716493 h 1177883"/>
                <a:gd name="connsiteX94" fmla="*/ 945593 w 3217388"/>
                <a:gd name="connsiteY94" fmla="*/ 359496 h 1177883"/>
                <a:gd name="connsiteX95" fmla="*/ 637212 w 3217388"/>
                <a:gd name="connsiteY95" fmla="*/ 204333 h 1177883"/>
                <a:gd name="connsiteX96" fmla="*/ 590156 w 3217388"/>
                <a:gd name="connsiteY96" fmla="*/ 207191 h 1177883"/>
                <a:gd name="connsiteX97" fmla="*/ 284151 w 3217388"/>
                <a:gd name="connsiteY97" fmla="*/ 438077 h 1177883"/>
                <a:gd name="connsiteX98" fmla="*/ 376456 w 3217388"/>
                <a:gd name="connsiteY98" fmla="*/ 851748 h 1177883"/>
                <a:gd name="connsiteX99" fmla="*/ 744632 w 3217388"/>
                <a:gd name="connsiteY99" fmla="*/ 937568 h 1177883"/>
                <a:gd name="connsiteX100" fmla="*/ 1002536 w 3217388"/>
                <a:gd name="connsiteY100" fmla="*/ 716493 h 1177883"/>
                <a:gd name="connsiteX101" fmla="*/ 1002536 w 3217388"/>
                <a:gd name="connsiteY101" fmla="*/ 716493 h 1177883"/>
                <a:gd name="connsiteX102" fmla="*/ 43834 w 3217388"/>
                <a:gd name="connsiteY102" fmla="*/ 569617 h 1177883"/>
                <a:gd name="connsiteX103" fmla="*/ 240328 w 3217388"/>
                <a:gd name="connsiteY103" fmla="*/ 192998 h 1177883"/>
                <a:gd name="connsiteX104" fmla="*/ 636451 w 3217388"/>
                <a:gd name="connsiteY104" fmla="*/ 44408 h 1177883"/>
                <a:gd name="connsiteX105" fmla="*/ 1012897 w 3217388"/>
                <a:gd name="connsiteY105" fmla="*/ 220240 h 1177883"/>
                <a:gd name="connsiteX106" fmla="*/ 1019742 w 3217388"/>
                <a:gd name="connsiteY106" fmla="*/ 223955 h 1177883"/>
                <a:gd name="connsiteX107" fmla="*/ 1027537 w 3217388"/>
                <a:gd name="connsiteY107" fmla="*/ 221288 h 1177883"/>
                <a:gd name="connsiteX108" fmla="*/ 1030674 w 3217388"/>
                <a:gd name="connsiteY108" fmla="*/ 213668 h 1177883"/>
                <a:gd name="connsiteX109" fmla="*/ 1027822 w 3217388"/>
                <a:gd name="connsiteY109" fmla="*/ 206905 h 1177883"/>
                <a:gd name="connsiteX110" fmla="*/ 565345 w 3217388"/>
                <a:gd name="connsiteY110" fmla="*/ 212 h 1177883"/>
                <a:gd name="connsiteX111" fmla="*/ 119504 w 3217388"/>
                <a:gd name="connsiteY111" fmla="*/ 229765 h 1177883"/>
                <a:gd name="connsiteX112" fmla="*/ 148402 w 3217388"/>
                <a:gd name="connsiteY112" fmla="*/ 978049 h 1177883"/>
                <a:gd name="connsiteX113" fmla="*/ 152775 w 3217388"/>
                <a:gd name="connsiteY113" fmla="*/ 982907 h 1177883"/>
                <a:gd name="connsiteX114" fmla="*/ 155057 w 3217388"/>
                <a:gd name="connsiteY114" fmla="*/ 985383 h 1177883"/>
                <a:gd name="connsiteX115" fmla="*/ 156198 w 3217388"/>
                <a:gd name="connsiteY115" fmla="*/ 986050 h 1177883"/>
                <a:gd name="connsiteX116" fmla="*/ 162852 w 3217388"/>
                <a:gd name="connsiteY116" fmla="*/ 987860 h 1177883"/>
                <a:gd name="connsiteX117" fmla="*/ 166464 w 3217388"/>
                <a:gd name="connsiteY117" fmla="*/ 987384 h 1177883"/>
                <a:gd name="connsiteX118" fmla="*/ 173974 w 3217388"/>
                <a:gd name="connsiteY118" fmla="*/ 981383 h 1177883"/>
                <a:gd name="connsiteX119" fmla="*/ 172168 w 3217388"/>
                <a:gd name="connsiteY119" fmla="*/ 967191 h 1177883"/>
                <a:gd name="connsiteX120" fmla="*/ 43929 w 3217388"/>
                <a:gd name="connsiteY120" fmla="*/ 569712 h 1177883"/>
                <a:gd name="connsiteX121" fmla="*/ 1172032 w 3217388"/>
                <a:gd name="connsiteY121" fmla="*/ 561997 h 1177883"/>
                <a:gd name="connsiteX122" fmla="*/ 1171651 w 3217388"/>
                <a:gd name="connsiteY122" fmla="*/ 559902 h 1177883"/>
                <a:gd name="connsiteX123" fmla="*/ 1159578 w 3217388"/>
                <a:gd name="connsiteY123" fmla="*/ 550853 h 1177883"/>
                <a:gd name="connsiteX124" fmla="*/ 1150738 w 3217388"/>
                <a:gd name="connsiteY124" fmla="*/ 555520 h 1177883"/>
                <a:gd name="connsiteX125" fmla="*/ 1148076 w 3217388"/>
                <a:gd name="connsiteY125" fmla="*/ 565521 h 1177883"/>
                <a:gd name="connsiteX126" fmla="*/ 1074403 w 3217388"/>
                <a:gd name="connsiteY126" fmla="*/ 861939 h 1177883"/>
                <a:gd name="connsiteX127" fmla="*/ 621241 w 3217388"/>
                <a:gd name="connsiteY127" fmla="*/ 1150642 h 1177883"/>
                <a:gd name="connsiteX128" fmla="*/ 609169 w 3217388"/>
                <a:gd name="connsiteY128" fmla="*/ 1165692 h 1177883"/>
                <a:gd name="connsiteX129" fmla="*/ 620481 w 3217388"/>
                <a:gd name="connsiteY129" fmla="*/ 1177693 h 1177883"/>
                <a:gd name="connsiteX130" fmla="*/ 621432 w 3217388"/>
                <a:gd name="connsiteY130" fmla="*/ 1177884 h 1177883"/>
                <a:gd name="connsiteX131" fmla="*/ 622382 w 3217388"/>
                <a:gd name="connsiteY131" fmla="*/ 1177884 h 1177883"/>
                <a:gd name="connsiteX132" fmla="*/ 664685 w 3217388"/>
                <a:gd name="connsiteY132" fmla="*/ 1174264 h 1177883"/>
                <a:gd name="connsiteX133" fmla="*/ 1045599 w 3217388"/>
                <a:gd name="connsiteY133" fmla="*/ 963285 h 1177883"/>
                <a:gd name="connsiteX134" fmla="*/ 1172032 w 3217388"/>
                <a:gd name="connsiteY134" fmla="*/ 561997 h 1177883"/>
                <a:gd name="connsiteX135" fmla="*/ 1170130 w 3217388"/>
                <a:gd name="connsiteY135" fmla="*/ 489226 h 1177883"/>
                <a:gd name="connsiteX136" fmla="*/ 1142657 w 3217388"/>
                <a:gd name="connsiteY136" fmla="*/ 363591 h 1177883"/>
                <a:gd name="connsiteX137" fmla="*/ 1115565 w 3217388"/>
                <a:gd name="connsiteY137" fmla="*/ 352923 h 1177883"/>
                <a:gd name="connsiteX138" fmla="*/ 1114804 w 3217388"/>
                <a:gd name="connsiteY138" fmla="*/ 389975 h 1177883"/>
                <a:gd name="connsiteX139" fmla="*/ 1145414 w 3217388"/>
                <a:gd name="connsiteY139" fmla="*/ 486559 h 1177883"/>
                <a:gd name="connsiteX140" fmla="*/ 1158913 w 3217388"/>
                <a:gd name="connsiteY140" fmla="*/ 501418 h 1177883"/>
                <a:gd name="connsiteX141" fmla="*/ 1170130 w 3217388"/>
                <a:gd name="connsiteY141" fmla="*/ 489321 h 117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3217388" h="1177883">
                  <a:moveTo>
                    <a:pt x="1527089" y="295107"/>
                  </a:moveTo>
                  <a:lnTo>
                    <a:pt x="1705520" y="295107"/>
                  </a:lnTo>
                  <a:lnTo>
                    <a:pt x="1705520" y="947283"/>
                  </a:lnTo>
                  <a:lnTo>
                    <a:pt x="1527089" y="947283"/>
                  </a:lnTo>
                  <a:lnTo>
                    <a:pt x="1527089" y="295107"/>
                  </a:lnTo>
                  <a:close/>
                  <a:moveTo>
                    <a:pt x="2318481" y="4403"/>
                  </a:moveTo>
                  <a:lnTo>
                    <a:pt x="2318481" y="386070"/>
                  </a:lnTo>
                  <a:cubicBezTo>
                    <a:pt x="2295095" y="345779"/>
                    <a:pt x="2216669" y="274533"/>
                    <a:pt x="2100884" y="274533"/>
                  </a:cubicBezTo>
                  <a:cubicBezTo>
                    <a:pt x="2046888" y="274533"/>
                    <a:pt x="1991182" y="289296"/>
                    <a:pt x="1939848" y="318919"/>
                  </a:cubicBezTo>
                  <a:cubicBezTo>
                    <a:pt x="1888515" y="348542"/>
                    <a:pt x="1848494" y="389499"/>
                    <a:pt x="1819785" y="441792"/>
                  </a:cubicBezTo>
                  <a:cubicBezTo>
                    <a:pt x="1791076" y="494084"/>
                    <a:pt x="1776817" y="553710"/>
                    <a:pt x="1776817" y="620576"/>
                  </a:cubicBezTo>
                  <a:cubicBezTo>
                    <a:pt x="1776817" y="687441"/>
                    <a:pt x="1791171" y="747258"/>
                    <a:pt x="1819785" y="800027"/>
                  </a:cubicBezTo>
                  <a:cubicBezTo>
                    <a:pt x="1848399" y="852795"/>
                    <a:pt x="1888705" y="893753"/>
                    <a:pt x="1940419" y="922899"/>
                  </a:cubicBezTo>
                  <a:cubicBezTo>
                    <a:pt x="1992228" y="952046"/>
                    <a:pt x="2048409" y="966619"/>
                    <a:pt x="2111816" y="966619"/>
                  </a:cubicBezTo>
                  <a:cubicBezTo>
                    <a:pt x="2223704" y="966619"/>
                    <a:pt x="2302605" y="899182"/>
                    <a:pt x="2318481" y="864606"/>
                  </a:cubicBezTo>
                  <a:lnTo>
                    <a:pt x="2318481" y="947283"/>
                  </a:lnTo>
                  <a:cubicBezTo>
                    <a:pt x="2318481" y="947283"/>
                    <a:pt x="2496913" y="947283"/>
                    <a:pt x="2496913" y="947283"/>
                  </a:cubicBezTo>
                  <a:lnTo>
                    <a:pt x="2496913" y="4403"/>
                  </a:lnTo>
                  <a:lnTo>
                    <a:pt x="2318481" y="4403"/>
                  </a:lnTo>
                  <a:close/>
                  <a:moveTo>
                    <a:pt x="2146323" y="813648"/>
                  </a:moveTo>
                  <a:cubicBezTo>
                    <a:pt x="2030633" y="813648"/>
                    <a:pt x="1957815" y="728304"/>
                    <a:pt x="1957815" y="620576"/>
                  </a:cubicBezTo>
                  <a:cubicBezTo>
                    <a:pt x="1957815" y="512848"/>
                    <a:pt x="2030252" y="427504"/>
                    <a:pt x="2146323" y="427504"/>
                  </a:cubicBezTo>
                  <a:cubicBezTo>
                    <a:pt x="2262394" y="427504"/>
                    <a:pt x="2334832" y="512848"/>
                    <a:pt x="2334832" y="620576"/>
                  </a:cubicBezTo>
                  <a:cubicBezTo>
                    <a:pt x="2334832" y="728304"/>
                    <a:pt x="2260398" y="813648"/>
                    <a:pt x="2146323" y="813648"/>
                  </a:cubicBezTo>
                  <a:close/>
                  <a:moveTo>
                    <a:pt x="3186113" y="403787"/>
                  </a:moveTo>
                  <a:cubicBezTo>
                    <a:pt x="3165104" y="361305"/>
                    <a:pt x="3135635" y="329206"/>
                    <a:pt x="3097515" y="307298"/>
                  </a:cubicBezTo>
                  <a:cubicBezTo>
                    <a:pt x="3059395" y="285391"/>
                    <a:pt x="3013480" y="274533"/>
                    <a:pt x="2959485" y="274533"/>
                  </a:cubicBezTo>
                  <a:cubicBezTo>
                    <a:pt x="2848832" y="274533"/>
                    <a:pt x="2777441" y="350351"/>
                    <a:pt x="2759189" y="385975"/>
                  </a:cubicBezTo>
                  <a:lnTo>
                    <a:pt x="2759189" y="4403"/>
                  </a:lnTo>
                  <a:lnTo>
                    <a:pt x="2580567" y="4403"/>
                  </a:lnTo>
                  <a:lnTo>
                    <a:pt x="2580567" y="947283"/>
                  </a:lnTo>
                  <a:lnTo>
                    <a:pt x="2759094" y="947283"/>
                  </a:lnTo>
                  <a:lnTo>
                    <a:pt x="2759094" y="598097"/>
                  </a:lnTo>
                  <a:cubicBezTo>
                    <a:pt x="2759094" y="495227"/>
                    <a:pt x="2816987" y="429219"/>
                    <a:pt x="2902162" y="429219"/>
                  </a:cubicBezTo>
                  <a:cubicBezTo>
                    <a:pt x="2947792" y="429219"/>
                    <a:pt x="3038957" y="462175"/>
                    <a:pt x="3038957" y="598097"/>
                  </a:cubicBezTo>
                  <a:lnTo>
                    <a:pt x="3038957" y="947283"/>
                  </a:lnTo>
                  <a:lnTo>
                    <a:pt x="3217388" y="947283"/>
                  </a:lnTo>
                  <a:lnTo>
                    <a:pt x="3217388" y="560092"/>
                  </a:lnTo>
                  <a:cubicBezTo>
                    <a:pt x="3217388" y="498370"/>
                    <a:pt x="3206932" y="446268"/>
                    <a:pt x="3185923" y="403787"/>
                  </a:cubicBezTo>
                  <a:close/>
                  <a:moveTo>
                    <a:pt x="1731282" y="100701"/>
                  </a:moveTo>
                  <a:cubicBezTo>
                    <a:pt x="1740503" y="166900"/>
                    <a:pt x="1673104" y="211667"/>
                    <a:pt x="1615972" y="216906"/>
                  </a:cubicBezTo>
                  <a:cubicBezTo>
                    <a:pt x="1570342" y="223193"/>
                    <a:pt x="1522621" y="204333"/>
                    <a:pt x="1507221" y="156803"/>
                  </a:cubicBezTo>
                  <a:cubicBezTo>
                    <a:pt x="1489539" y="102987"/>
                    <a:pt x="1506555" y="32978"/>
                    <a:pt x="1560836" y="8499"/>
                  </a:cubicBezTo>
                  <a:cubicBezTo>
                    <a:pt x="1627474" y="-20266"/>
                    <a:pt x="1718163" y="27359"/>
                    <a:pt x="1731187" y="100606"/>
                  </a:cubicBezTo>
                  <a:lnTo>
                    <a:pt x="1731187" y="100606"/>
                  </a:lnTo>
                  <a:close/>
                  <a:moveTo>
                    <a:pt x="243274" y="1020912"/>
                  </a:moveTo>
                  <a:cubicBezTo>
                    <a:pt x="251735" y="1025864"/>
                    <a:pt x="257819" y="1034437"/>
                    <a:pt x="250974" y="1046439"/>
                  </a:cubicBezTo>
                  <a:cubicBezTo>
                    <a:pt x="244130" y="1058440"/>
                    <a:pt x="225213" y="1053297"/>
                    <a:pt x="217798" y="1047010"/>
                  </a:cubicBezTo>
                  <a:cubicBezTo>
                    <a:pt x="206961" y="1037771"/>
                    <a:pt x="194793" y="1016816"/>
                    <a:pt x="198975" y="1012625"/>
                  </a:cubicBezTo>
                  <a:cubicBezTo>
                    <a:pt x="203158" y="1008434"/>
                    <a:pt x="234814" y="1015959"/>
                    <a:pt x="243274" y="1020912"/>
                  </a:cubicBezTo>
                  <a:close/>
                  <a:moveTo>
                    <a:pt x="848820" y="564283"/>
                  </a:moveTo>
                  <a:cubicBezTo>
                    <a:pt x="853383" y="594382"/>
                    <a:pt x="845588" y="624100"/>
                    <a:pt x="826290" y="650103"/>
                  </a:cubicBezTo>
                  <a:cubicBezTo>
                    <a:pt x="800814" y="684489"/>
                    <a:pt x="757085" y="709825"/>
                    <a:pt x="712121" y="716302"/>
                  </a:cubicBezTo>
                  <a:cubicBezTo>
                    <a:pt x="702900" y="718302"/>
                    <a:pt x="693299" y="719255"/>
                    <a:pt x="683507" y="719255"/>
                  </a:cubicBezTo>
                  <a:cubicBezTo>
                    <a:pt x="635406" y="719255"/>
                    <a:pt x="583692" y="695157"/>
                    <a:pt x="564489" y="646103"/>
                  </a:cubicBezTo>
                  <a:cubicBezTo>
                    <a:pt x="536161" y="577332"/>
                    <a:pt x="556219" y="480558"/>
                    <a:pt x="631223" y="446173"/>
                  </a:cubicBezTo>
                  <a:cubicBezTo>
                    <a:pt x="672955" y="428361"/>
                    <a:pt x="721912" y="431504"/>
                    <a:pt x="765451" y="454841"/>
                  </a:cubicBezTo>
                  <a:cubicBezTo>
                    <a:pt x="809750" y="478558"/>
                    <a:pt x="840170" y="518372"/>
                    <a:pt x="848915" y="563997"/>
                  </a:cubicBezTo>
                  <a:lnTo>
                    <a:pt x="848915" y="564188"/>
                  </a:lnTo>
                  <a:close/>
                  <a:moveTo>
                    <a:pt x="808039" y="570760"/>
                  </a:moveTo>
                  <a:cubicBezTo>
                    <a:pt x="801004" y="531041"/>
                    <a:pt x="764215" y="495703"/>
                    <a:pt x="718680" y="484749"/>
                  </a:cubicBezTo>
                  <a:cubicBezTo>
                    <a:pt x="709554" y="482559"/>
                    <a:pt x="700713" y="481511"/>
                    <a:pt x="692158" y="481511"/>
                  </a:cubicBezTo>
                  <a:cubicBezTo>
                    <a:pt x="664590" y="481511"/>
                    <a:pt x="640824" y="492846"/>
                    <a:pt x="624759" y="514182"/>
                  </a:cubicBezTo>
                  <a:cubicBezTo>
                    <a:pt x="603180" y="543423"/>
                    <a:pt x="598046" y="589620"/>
                    <a:pt x="612211" y="626291"/>
                  </a:cubicBezTo>
                  <a:cubicBezTo>
                    <a:pt x="622477" y="652961"/>
                    <a:pt x="650996" y="670487"/>
                    <a:pt x="684933" y="671058"/>
                  </a:cubicBezTo>
                  <a:cubicBezTo>
                    <a:pt x="723243" y="672201"/>
                    <a:pt x="764785" y="655628"/>
                    <a:pt x="788076" y="630006"/>
                  </a:cubicBezTo>
                  <a:cubicBezTo>
                    <a:pt x="803666" y="612956"/>
                    <a:pt x="810510" y="592382"/>
                    <a:pt x="807943" y="570665"/>
                  </a:cubicBezTo>
                  <a:close/>
                  <a:moveTo>
                    <a:pt x="893024" y="502656"/>
                  </a:moveTo>
                  <a:cubicBezTo>
                    <a:pt x="924014" y="587715"/>
                    <a:pt x="919166" y="707444"/>
                    <a:pt x="838173" y="782977"/>
                  </a:cubicBezTo>
                  <a:cubicBezTo>
                    <a:pt x="794730" y="824411"/>
                    <a:pt x="737883" y="846414"/>
                    <a:pt x="677043" y="846414"/>
                  </a:cubicBezTo>
                  <a:cubicBezTo>
                    <a:pt x="658981" y="846414"/>
                    <a:pt x="640634" y="844509"/>
                    <a:pt x="622097" y="840508"/>
                  </a:cubicBezTo>
                  <a:cubicBezTo>
                    <a:pt x="530742" y="821172"/>
                    <a:pt x="452791" y="757736"/>
                    <a:pt x="418569" y="675059"/>
                  </a:cubicBezTo>
                  <a:cubicBezTo>
                    <a:pt x="391096" y="613241"/>
                    <a:pt x="391476" y="540375"/>
                    <a:pt x="419710" y="475224"/>
                  </a:cubicBezTo>
                  <a:cubicBezTo>
                    <a:pt x="448609" y="408454"/>
                    <a:pt x="503079" y="357019"/>
                    <a:pt x="569147" y="334254"/>
                  </a:cubicBezTo>
                  <a:cubicBezTo>
                    <a:pt x="631413" y="311966"/>
                    <a:pt x="695200" y="315014"/>
                    <a:pt x="753663" y="342922"/>
                  </a:cubicBezTo>
                  <a:cubicBezTo>
                    <a:pt x="817165" y="373307"/>
                    <a:pt x="867928" y="431409"/>
                    <a:pt x="893024" y="502561"/>
                  </a:cubicBezTo>
                  <a:close/>
                  <a:moveTo>
                    <a:pt x="880381" y="507323"/>
                  </a:moveTo>
                  <a:lnTo>
                    <a:pt x="880381" y="507323"/>
                  </a:lnTo>
                  <a:cubicBezTo>
                    <a:pt x="851957" y="425885"/>
                    <a:pt x="765356" y="369497"/>
                    <a:pt x="670198" y="370449"/>
                  </a:cubicBezTo>
                  <a:cubicBezTo>
                    <a:pt x="669818" y="370449"/>
                    <a:pt x="669533" y="370449"/>
                    <a:pt x="669153" y="370449"/>
                  </a:cubicBezTo>
                  <a:cubicBezTo>
                    <a:pt x="595765" y="370449"/>
                    <a:pt x="528936" y="403311"/>
                    <a:pt x="485588" y="460746"/>
                  </a:cubicBezTo>
                  <a:cubicBezTo>
                    <a:pt x="441859" y="518658"/>
                    <a:pt x="428360" y="592858"/>
                    <a:pt x="448704" y="664391"/>
                  </a:cubicBezTo>
                  <a:cubicBezTo>
                    <a:pt x="465720" y="722493"/>
                    <a:pt x="504220" y="768309"/>
                    <a:pt x="557170" y="793264"/>
                  </a:cubicBezTo>
                  <a:cubicBezTo>
                    <a:pt x="611735" y="818982"/>
                    <a:pt x="676378" y="819267"/>
                    <a:pt x="734270" y="794121"/>
                  </a:cubicBezTo>
                  <a:cubicBezTo>
                    <a:pt x="839029" y="752307"/>
                    <a:pt x="924680" y="624291"/>
                    <a:pt x="880381" y="507419"/>
                  </a:cubicBezTo>
                  <a:close/>
                  <a:moveTo>
                    <a:pt x="634645" y="996051"/>
                  </a:moveTo>
                  <a:cubicBezTo>
                    <a:pt x="585118" y="996051"/>
                    <a:pt x="535686" y="986241"/>
                    <a:pt x="488535" y="966524"/>
                  </a:cubicBezTo>
                  <a:cubicBezTo>
                    <a:pt x="287383" y="883371"/>
                    <a:pt x="180438" y="636197"/>
                    <a:pt x="255062" y="426742"/>
                  </a:cubicBezTo>
                  <a:cubicBezTo>
                    <a:pt x="305065" y="281391"/>
                    <a:pt x="426744" y="180616"/>
                    <a:pt x="580460" y="157280"/>
                  </a:cubicBezTo>
                  <a:cubicBezTo>
                    <a:pt x="733605" y="134039"/>
                    <a:pt x="878955" y="193856"/>
                    <a:pt x="969359" y="317490"/>
                  </a:cubicBezTo>
                  <a:cubicBezTo>
                    <a:pt x="1049972" y="427790"/>
                    <a:pt x="1067748" y="586286"/>
                    <a:pt x="1014704" y="721255"/>
                  </a:cubicBezTo>
                  <a:cubicBezTo>
                    <a:pt x="972876" y="831078"/>
                    <a:pt x="889127" y="919851"/>
                    <a:pt x="785129" y="964714"/>
                  </a:cubicBezTo>
                  <a:cubicBezTo>
                    <a:pt x="736647" y="985574"/>
                    <a:pt x="685599" y="996051"/>
                    <a:pt x="634645" y="996051"/>
                  </a:cubicBezTo>
                  <a:close/>
                  <a:moveTo>
                    <a:pt x="1002631" y="716493"/>
                  </a:moveTo>
                  <a:cubicBezTo>
                    <a:pt x="1047975" y="601907"/>
                    <a:pt x="1025541" y="461794"/>
                    <a:pt x="945593" y="359496"/>
                  </a:cubicBezTo>
                  <a:cubicBezTo>
                    <a:pt x="870019" y="260340"/>
                    <a:pt x="757180" y="204333"/>
                    <a:pt x="637212" y="204333"/>
                  </a:cubicBezTo>
                  <a:cubicBezTo>
                    <a:pt x="621622" y="204333"/>
                    <a:pt x="605937" y="205286"/>
                    <a:pt x="590156" y="207191"/>
                  </a:cubicBezTo>
                  <a:cubicBezTo>
                    <a:pt x="454407" y="223669"/>
                    <a:pt x="339953" y="309966"/>
                    <a:pt x="284151" y="438077"/>
                  </a:cubicBezTo>
                  <a:cubicBezTo>
                    <a:pt x="221410" y="578952"/>
                    <a:pt x="260196" y="752878"/>
                    <a:pt x="376456" y="851748"/>
                  </a:cubicBezTo>
                  <a:cubicBezTo>
                    <a:pt x="472089" y="937187"/>
                    <a:pt x="613066" y="970048"/>
                    <a:pt x="744632" y="937568"/>
                  </a:cubicBezTo>
                  <a:cubicBezTo>
                    <a:pt x="866882" y="907469"/>
                    <a:pt x="960898" y="826887"/>
                    <a:pt x="1002536" y="716493"/>
                  </a:cubicBezTo>
                  <a:lnTo>
                    <a:pt x="1002536" y="716493"/>
                  </a:lnTo>
                  <a:close/>
                  <a:moveTo>
                    <a:pt x="43834" y="569617"/>
                  </a:moveTo>
                  <a:cubicBezTo>
                    <a:pt x="57713" y="426551"/>
                    <a:pt x="127584" y="292725"/>
                    <a:pt x="240328" y="192998"/>
                  </a:cubicBezTo>
                  <a:cubicBezTo>
                    <a:pt x="352881" y="93462"/>
                    <a:pt x="493478" y="40598"/>
                    <a:pt x="636451" y="44408"/>
                  </a:cubicBezTo>
                  <a:cubicBezTo>
                    <a:pt x="781516" y="48218"/>
                    <a:pt x="915174" y="110607"/>
                    <a:pt x="1012897" y="220240"/>
                  </a:cubicBezTo>
                  <a:cubicBezTo>
                    <a:pt x="1014609" y="222335"/>
                    <a:pt x="1017080" y="223669"/>
                    <a:pt x="1019742" y="223955"/>
                  </a:cubicBezTo>
                  <a:cubicBezTo>
                    <a:pt x="1022594" y="224241"/>
                    <a:pt x="1025541" y="223288"/>
                    <a:pt x="1027537" y="221288"/>
                  </a:cubicBezTo>
                  <a:cubicBezTo>
                    <a:pt x="1029628" y="219383"/>
                    <a:pt x="1030769" y="216525"/>
                    <a:pt x="1030674" y="213668"/>
                  </a:cubicBezTo>
                  <a:cubicBezTo>
                    <a:pt x="1030674" y="211096"/>
                    <a:pt x="1029533" y="208715"/>
                    <a:pt x="1027822" y="206905"/>
                  </a:cubicBezTo>
                  <a:cubicBezTo>
                    <a:pt x="912512" y="70888"/>
                    <a:pt x="743967" y="-4264"/>
                    <a:pt x="565345" y="212"/>
                  </a:cubicBezTo>
                  <a:cubicBezTo>
                    <a:pt x="389765" y="4784"/>
                    <a:pt x="227304" y="88414"/>
                    <a:pt x="119504" y="229765"/>
                  </a:cubicBezTo>
                  <a:cubicBezTo>
                    <a:pt x="-50277" y="450459"/>
                    <a:pt x="-37824" y="772214"/>
                    <a:pt x="148402" y="978049"/>
                  </a:cubicBezTo>
                  <a:cubicBezTo>
                    <a:pt x="149828" y="979668"/>
                    <a:pt x="151349" y="981287"/>
                    <a:pt x="152775" y="982907"/>
                  </a:cubicBezTo>
                  <a:lnTo>
                    <a:pt x="155057" y="985383"/>
                  </a:lnTo>
                  <a:lnTo>
                    <a:pt x="156198" y="986050"/>
                  </a:lnTo>
                  <a:cubicBezTo>
                    <a:pt x="158194" y="987193"/>
                    <a:pt x="160570" y="987860"/>
                    <a:pt x="162852" y="987860"/>
                  </a:cubicBezTo>
                  <a:cubicBezTo>
                    <a:pt x="164088" y="987860"/>
                    <a:pt x="165228" y="987669"/>
                    <a:pt x="166464" y="987384"/>
                  </a:cubicBezTo>
                  <a:cubicBezTo>
                    <a:pt x="169696" y="986431"/>
                    <a:pt x="172453" y="984240"/>
                    <a:pt x="173974" y="981383"/>
                  </a:cubicBezTo>
                  <a:cubicBezTo>
                    <a:pt x="176351" y="976906"/>
                    <a:pt x="175685" y="971477"/>
                    <a:pt x="172168" y="967191"/>
                  </a:cubicBezTo>
                  <a:cubicBezTo>
                    <a:pt x="75300" y="856129"/>
                    <a:pt x="29765" y="714968"/>
                    <a:pt x="43929" y="569712"/>
                  </a:cubicBezTo>
                  <a:close/>
                  <a:moveTo>
                    <a:pt x="1172032" y="561997"/>
                  </a:moveTo>
                  <a:lnTo>
                    <a:pt x="1171651" y="559902"/>
                  </a:lnTo>
                  <a:cubicBezTo>
                    <a:pt x="1169940" y="554377"/>
                    <a:pt x="1164997" y="550567"/>
                    <a:pt x="1159578" y="550853"/>
                  </a:cubicBezTo>
                  <a:cubicBezTo>
                    <a:pt x="1156156" y="550948"/>
                    <a:pt x="1152924" y="552663"/>
                    <a:pt x="1150738" y="555520"/>
                  </a:cubicBezTo>
                  <a:cubicBezTo>
                    <a:pt x="1148551" y="558378"/>
                    <a:pt x="1147601" y="561902"/>
                    <a:pt x="1148076" y="565521"/>
                  </a:cubicBezTo>
                  <a:cubicBezTo>
                    <a:pt x="1151118" y="670677"/>
                    <a:pt x="1125641" y="773166"/>
                    <a:pt x="1074403" y="861939"/>
                  </a:cubicBezTo>
                  <a:cubicBezTo>
                    <a:pt x="980957" y="1028532"/>
                    <a:pt x="811746" y="1136450"/>
                    <a:pt x="621241" y="1150642"/>
                  </a:cubicBezTo>
                  <a:cubicBezTo>
                    <a:pt x="613827" y="1151595"/>
                    <a:pt x="608408" y="1158357"/>
                    <a:pt x="609169" y="1165692"/>
                  </a:cubicBezTo>
                  <a:cubicBezTo>
                    <a:pt x="609834" y="1171692"/>
                    <a:pt x="614397" y="1176550"/>
                    <a:pt x="620481" y="1177693"/>
                  </a:cubicBezTo>
                  <a:lnTo>
                    <a:pt x="621432" y="1177884"/>
                  </a:lnTo>
                  <a:lnTo>
                    <a:pt x="622382" y="1177884"/>
                  </a:lnTo>
                  <a:cubicBezTo>
                    <a:pt x="636642" y="1177217"/>
                    <a:pt x="650901" y="1175979"/>
                    <a:pt x="664685" y="1174264"/>
                  </a:cubicBezTo>
                  <a:cubicBezTo>
                    <a:pt x="816689" y="1155976"/>
                    <a:pt x="951963" y="1081014"/>
                    <a:pt x="1045599" y="963285"/>
                  </a:cubicBezTo>
                  <a:cubicBezTo>
                    <a:pt x="1135813" y="849843"/>
                    <a:pt x="1180682" y="707349"/>
                    <a:pt x="1172032" y="561997"/>
                  </a:cubicBezTo>
                  <a:close/>
                  <a:moveTo>
                    <a:pt x="1170130" y="489226"/>
                  </a:moveTo>
                  <a:cubicBezTo>
                    <a:pt x="1175073" y="468938"/>
                    <a:pt x="1167849" y="393595"/>
                    <a:pt x="1142657" y="363591"/>
                  </a:cubicBezTo>
                  <a:cubicBezTo>
                    <a:pt x="1134957" y="354352"/>
                    <a:pt x="1125831" y="346732"/>
                    <a:pt x="1115565" y="352923"/>
                  </a:cubicBezTo>
                  <a:cubicBezTo>
                    <a:pt x="1101876" y="361115"/>
                    <a:pt x="1104728" y="376069"/>
                    <a:pt x="1114804" y="389975"/>
                  </a:cubicBezTo>
                  <a:cubicBezTo>
                    <a:pt x="1131725" y="413407"/>
                    <a:pt x="1144559" y="466271"/>
                    <a:pt x="1145414" y="486559"/>
                  </a:cubicBezTo>
                  <a:cubicBezTo>
                    <a:pt x="1145794" y="495322"/>
                    <a:pt x="1151783" y="501227"/>
                    <a:pt x="1158913" y="501418"/>
                  </a:cubicBezTo>
                  <a:cubicBezTo>
                    <a:pt x="1166043" y="501513"/>
                    <a:pt x="1168039" y="497894"/>
                    <a:pt x="1170130" y="489321"/>
                  </a:cubicBezTo>
                  <a:close/>
                </a:path>
              </a:pathLst>
            </a:custGeom>
            <a:grpFill/>
            <a:ln w="94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grpSp>
          <p:nvGrpSpPr>
            <p:cNvPr id="29" name="Graphic 77">
              <a:extLst>
                <a:ext uri="{FF2B5EF4-FFF2-40B4-BE49-F238E27FC236}">
                  <a16:creationId xmlns:a16="http://schemas.microsoft.com/office/drawing/2014/main" id="{2F7C6FFA-2C76-FD6B-4AB6-E31AFDDBE3F3}"/>
                </a:ext>
              </a:extLst>
            </p:cNvPr>
            <p:cNvGrpSpPr/>
            <p:nvPr/>
          </p:nvGrpSpPr>
          <p:grpSpPr>
            <a:xfrm>
              <a:off x="6016337" y="3871817"/>
              <a:ext cx="1690870" cy="144494"/>
              <a:chOff x="6016337" y="3871817"/>
              <a:chExt cx="1690870" cy="144494"/>
            </a:xfrm>
            <a:grpFill/>
          </p:grpSpPr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7857866D-F907-DBEA-8F38-F0D89D6AFF13}"/>
                  </a:ext>
                </a:extLst>
              </p:cNvPr>
              <p:cNvSpPr/>
              <p:nvPr/>
            </p:nvSpPr>
            <p:spPr>
              <a:xfrm>
                <a:off x="6016337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2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E662592-38C7-87B5-471D-73B03945BDFF}"/>
                  </a:ext>
                </a:extLst>
              </p:cNvPr>
              <p:cNvSpPr/>
              <p:nvPr/>
            </p:nvSpPr>
            <p:spPr>
              <a:xfrm>
                <a:off x="6086303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2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1 w 70250"/>
                  <a:gd name="connsiteY8" fmla="*/ 34004 h 78295"/>
                  <a:gd name="connsiteX9" fmla="*/ 38976 w 70250"/>
                  <a:gd name="connsiteY9" fmla="*/ 14954 h 78295"/>
                  <a:gd name="connsiteX10" fmla="*/ 17492 w 70250"/>
                  <a:gd name="connsiteY10" fmla="*/ 44577 h 78295"/>
                  <a:gd name="connsiteX11" fmla="*/ 17492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1" y="37624"/>
                      <a:pt x="54281" y="34004"/>
                    </a:cubicBezTo>
                    <a:cubicBezTo>
                      <a:pt x="54281" y="21050"/>
                      <a:pt x="49337" y="14954"/>
                      <a:pt x="38976" y="14954"/>
                    </a:cubicBezTo>
                    <a:cubicBezTo>
                      <a:pt x="25762" y="14954"/>
                      <a:pt x="17492" y="26194"/>
                      <a:pt x="17492" y="44577"/>
                    </a:cubicBezTo>
                    <a:lnTo>
                      <a:pt x="17492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4EC5FDE-BB89-C005-58EC-A8EC690C2402}"/>
                  </a:ext>
                </a:extLst>
              </p:cNvPr>
              <p:cNvSpPr/>
              <p:nvPr/>
            </p:nvSpPr>
            <p:spPr>
              <a:xfrm>
                <a:off x="6169197" y="3904773"/>
                <a:ext cx="74909" cy="79533"/>
              </a:xfrm>
              <a:custGeom>
                <a:avLst/>
                <a:gdLst>
                  <a:gd name="connsiteX0" fmla="*/ 95 w 74909"/>
                  <a:gd name="connsiteY0" fmla="*/ 56198 h 79533"/>
                  <a:gd name="connsiteX1" fmla="*/ 28899 w 74909"/>
                  <a:gd name="connsiteY1" fmla="*/ 35243 h 79533"/>
                  <a:gd name="connsiteX2" fmla="*/ 57418 w 74909"/>
                  <a:gd name="connsiteY2" fmla="*/ 35243 h 79533"/>
                  <a:gd name="connsiteX3" fmla="*/ 57418 w 74909"/>
                  <a:gd name="connsiteY3" fmla="*/ 29813 h 79533"/>
                  <a:gd name="connsiteX4" fmla="*/ 37169 w 74909"/>
                  <a:gd name="connsiteY4" fmla="*/ 13145 h 79533"/>
                  <a:gd name="connsiteX5" fmla="*/ 18632 w 74909"/>
                  <a:gd name="connsiteY5" fmla="*/ 26289 h 79533"/>
                  <a:gd name="connsiteX6" fmla="*/ 18822 w 74909"/>
                  <a:gd name="connsiteY6" fmla="*/ 29242 h 79533"/>
                  <a:gd name="connsiteX7" fmla="*/ 2757 w 74909"/>
                  <a:gd name="connsiteY7" fmla="*/ 29242 h 79533"/>
                  <a:gd name="connsiteX8" fmla="*/ 2472 w 74909"/>
                  <a:gd name="connsiteY8" fmla="*/ 24670 h 79533"/>
                  <a:gd name="connsiteX9" fmla="*/ 37835 w 74909"/>
                  <a:gd name="connsiteY9" fmla="*/ 0 h 79533"/>
                  <a:gd name="connsiteX10" fmla="*/ 74909 w 74909"/>
                  <a:gd name="connsiteY10" fmla="*/ 31337 h 79533"/>
                  <a:gd name="connsiteX11" fmla="*/ 74909 w 74909"/>
                  <a:gd name="connsiteY11" fmla="*/ 78296 h 79533"/>
                  <a:gd name="connsiteX12" fmla="*/ 57418 w 74909"/>
                  <a:gd name="connsiteY12" fmla="*/ 78296 h 79533"/>
                  <a:gd name="connsiteX13" fmla="*/ 58178 w 74909"/>
                  <a:gd name="connsiteY13" fmla="*/ 61246 h 79533"/>
                  <a:gd name="connsiteX14" fmla="*/ 57988 w 74909"/>
                  <a:gd name="connsiteY14" fmla="*/ 61246 h 79533"/>
                  <a:gd name="connsiteX15" fmla="*/ 29279 w 74909"/>
                  <a:gd name="connsiteY15" fmla="*/ 79534 h 79533"/>
                  <a:gd name="connsiteX16" fmla="*/ 0 w 74909"/>
                  <a:gd name="connsiteY16" fmla="*/ 56102 h 79533"/>
                  <a:gd name="connsiteX17" fmla="*/ 57418 w 74909"/>
                  <a:gd name="connsiteY17" fmla="*/ 47339 h 79533"/>
                  <a:gd name="connsiteX18" fmla="*/ 57418 w 74909"/>
                  <a:gd name="connsiteY18" fmla="*/ 45910 h 79533"/>
                  <a:gd name="connsiteX19" fmla="*/ 30515 w 74909"/>
                  <a:gd name="connsiteY19" fmla="*/ 45910 h 79533"/>
                  <a:gd name="connsiteX20" fmla="*/ 16161 w 74909"/>
                  <a:gd name="connsiteY20" fmla="*/ 55435 h 79533"/>
                  <a:gd name="connsiteX21" fmla="*/ 32987 w 74909"/>
                  <a:gd name="connsiteY21" fmla="*/ 66485 h 79533"/>
                  <a:gd name="connsiteX22" fmla="*/ 57418 w 74909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909" h="79533">
                    <a:moveTo>
                      <a:pt x="95" y="56198"/>
                    </a:moveTo>
                    <a:cubicBezTo>
                      <a:pt x="95" y="44482"/>
                      <a:pt x="8366" y="35243"/>
                      <a:pt x="28899" y="35243"/>
                    </a:cubicBezTo>
                    <a:lnTo>
                      <a:pt x="57418" y="35243"/>
                    </a:lnTo>
                    <a:lnTo>
                      <a:pt x="57418" y="29813"/>
                    </a:lnTo>
                    <a:cubicBezTo>
                      <a:pt x="57418" y="18288"/>
                      <a:pt x="50763" y="13145"/>
                      <a:pt x="37169" y="13145"/>
                    </a:cubicBezTo>
                    <a:cubicBezTo>
                      <a:pt x="25287" y="13145"/>
                      <a:pt x="18632" y="17717"/>
                      <a:pt x="18632" y="26289"/>
                    </a:cubicBezTo>
                    <a:cubicBezTo>
                      <a:pt x="18632" y="26765"/>
                      <a:pt x="18632" y="28004"/>
                      <a:pt x="18822" y="29242"/>
                    </a:cubicBezTo>
                    <a:lnTo>
                      <a:pt x="2757" y="29242"/>
                    </a:lnTo>
                    <a:cubicBezTo>
                      <a:pt x="2567" y="28099"/>
                      <a:pt x="2472" y="26099"/>
                      <a:pt x="2472" y="24670"/>
                    </a:cubicBezTo>
                    <a:cubicBezTo>
                      <a:pt x="2472" y="9239"/>
                      <a:pt x="15875" y="0"/>
                      <a:pt x="37835" y="0"/>
                    </a:cubicBezTo>
                    <a:cubicBezTo>
                      <a:pt x="61220" y="0"/>
                      <a:pt x="74909" y="11049"/>
                      <a:pt x="74909" y="31337"/>
                    </a:cubicBezTo>
                    <a:lnTo>
                      <a:pt x="74909" y="78296"/>
                    </a:lnTo>
                    <a:lnTo>
                      <a:pt x="57418" y="78296"/>
                    </a:lnTo>
                    <a:cubicBezTo>
                      <a:pt x="57703" y="74581"/>
                      <a:pt x="58178" y="67532"/>
                      <a:pt x="58178" y="61246"/>
                    </a:cubicBezTo>
                    <a:lnTo>
                      <a:pt x="57988" y="61246"/>
                    </a:lnTo>
                    <a:cubicBezTo>
                      <a:pt x="55516" y="72676"/>
                      <a:pt x="46295" y="79534"/>
                      <a:pt x="29279" y="79534"/>
                    </a:cubicBezTo>
                    <a:cubicBezTo>
                      <a:pt x="12263" y="79534"/>
                      <a:pt x="0" y="71152"/>
                      <a:pt x="0" y="56102"/>
                    </a:cubicBezTo>
                    <a:close/>
                    <a:moveTo>
                      <a:pt x="57418" y="47339"/>
                    </a:moveTo>
                    <a:lnTo>
                      <a:pt x="57418" y="45910"/>
                    </a:lnTo>
                    <a:lnTo>
                      <a:pt x="30515" y="45910"/>
                    </a:lnTo>
                    <a:cubicBezTo>
                      <a:pt x="20533" y="45910"/>
                      <a:pt x="16161" y="49340"/>
                      <a:pt x="16161" y="55435"/>
                    </a:cubicBezTo>
                    <a:cubicBezTo>
                      <a:pt x="16161" y="62484"/>
                      <a:pt x="22435" y="66485"/>
                      <a:pt x="32987" y="66485"/>
                    </a:cubicBezTo>
                    <a:cubicBezTo>
                      <a:pt x="48101" y="66485"/>
                      <a:pt x="57418" y="59150"/>
                      <a:pt x="57418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5EE04E07-3782-291B-CE34-C1C9A3983C78}"/>
                  </a:ext>
                </a:extLst>
              </p:cNvPr>
              <p:cNvSpPr/>
              <p:nvPr/>
            </p:nvSpPr>
            <p:spPr>
              <a:xfrm>
                <a:off x="6260742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1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1 w 80612"/>
                  <a:gd name="connsiteY10" fmla="*/ 41053 h 78390"/>
                  <a:gd name="connsiteX11" fmla="*/ 17491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1" y="24194"/>
                      <a:pt x="17491" y="41053"/>
                    </a:cubicBezTo>
                    <a:lnTo>
                      <a:pt x="17491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48B7544C-B1F7-6797-1CBD-BAF7031E5167}"/>
                  </a:ext>
                </a:extLst>
              </p:cNvPr>
              <p:cNvSpPr/>
              <p:nvPr/>
            </p:nvSpPr>
            <p:spPr>
              <a:xfrm>
                <a:off x="635561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4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3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1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4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214FB701-B08A-6992-D371-D6E5E77F904B}"/>
                  </a:ext>
                </a:extLst>
              </p:cNvPr>
              <p:cNvSpPr/>
              <p:nvPr/>
            </p:nvSpPr>
            <p:spPr>
              <a:xfrm>
                <a:off x="6436797" y="3871817"/>
                <a:ext cx="56466" cy="111252"/>
              </a:xfrm>
              <a:custGeom>
                <a:avLst/>
                <a:gdLst>
                  <a:gd name="connsiteX0" fmla="*/ 12263 w 56466"/>
                  <a:gd name="connsiteY0" fmla="*/ 48387 h 111252"/>
                  <a:gd name="connsiteX1" fmla="*/ 0 w 56466"/>
                  <a:gd name="connsiteY1" fmla="*/ 48387 h 111252"/>
                  <a:gd name="connsiteX2" fmla="*/ 0 w 56466"/>
                  <a:gd name="connsiteY2" fmla="*/ 34195 h 111252"/>
                  <a:gd name="connsiteX3" fmla="*/ 12263 w 56466"/>
                  <a:gd name="connsiteY3" fmla="*/ 34195 h 111252"/>
                  <a:gd name="connsiteX4" fmla="*/ 12263 w 56466"/>
                  <a:gd name="connsiteY4" fmla="*/ 26575 h 111252"/>
                  <a:gd name="connsiteX5" fmla="*/ 40306 w 56466"/>
                  <a:gd name="connsiteY5" fmla="*/ 0 h 111252"/>
                  <a:gd name="connsiteX6" fmla="*/ 55231 w 56466"/>
                  <a:gd name="connsiteY6" fmla="*/ 2191 h 111252"/>
                  <a:gd name="connsiteX7" fmla="*/ 55231 w 56466"/>
                  <a:gd name="connsiteY7" fmla="*/ 16097 h 111252"/>
                  <a:gd name="connsiteX8" fmla="*/ 43348 w 56466"/>
                  <a:gd name="connsiteY8" fmla="*/ 14192 h 111252"/>
                  <a:gd name="connsiteX9" fmla="*/ 29659 w 56466"/>
                  <a:gd name="connsiteY9" fmla="*/ 27337 h 111252"/>
                  <a:gd name="connsiteX10" fmla="*/ 29659 w 56466"/>
                  <a:gd name="connsiteY10" fmla="*/ 34195 h 111252"/>
                  <a:gd name="connsiteX11" fmla="*/ 56467 w 56466"/>
                  <a:gd name="connsiteY11" fmla="*/ 34195 h 111252"/>
                  <a:gd name="connsiteX12" fmla="*/ 56467 w 56466"/>
                  <a:gd name="connsiteY12" fmla="*/ 48387 h 111252"/>
                  <a:gd name="connsiteX13" fmla="*/ 29659 w 56466"/>
                  <a:gd name="connsiteY13" fmla="*/ 48387 h 111252"/>
                  <a:gd name="connsiteX14" fmla="*/ 29659 w 56466"/>
                  <a:gd name="connsiteY14" fmla="*/ 111252 h 111252"/>
                  <a:gd name="connsiteX15" fmla="*/ 12168 w 56466"/>
                  <a:gd name="connsiteY15" fmla="*/ 111252 h 111252"/>
                  <a:gd name="connsiteX16" fmla="*/ 12168 w 56466"/>
                  <a:gd name="connsiteY16" fmla="*/ 48387 h 111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466" h="111252">
                    <a:moveTo>
                      <a:pt x="12263" y="48387"/>
                    </a:moveTo>
                    <a:lnTo>
                      <a:pt x="0" y="48387"/>
                    </a:lnTo>
                    <a:lnTo>
                      <a:pt x="0" y="34195"/>
                    </a:lnTo>
                    <a:lnTo>
                      <a:pt x="12263" y="34195"/>
                    </a:lnTo>
                    <a:lnTo>
                      <a:pt x="12263" y="26575"/>
                    </a:lnTo>
                    <a:cubicBezTo>
                      <a:pt x="12263" y="9430"/>
                      <a:pt x="23670" y="0"/>
                      <a:pt x="40306" y="0"/>
                    </a:cubicBezTo>
                    <a:cubicBezTo>
                      <a:pt x="47151" y="0"/>
                      <a:pt x="52759" y="1238"/>
                      <a:pt x="55231" y="2191"/>
                    </a:cubicBezTo>
                    <a:lnTo>
                      <a:pt x="55231" y="16097"/>
                    </a:lnTo>
                    <a:cubicBezTo>
                      <a:pt x="52759" y="15335"/>
                      <a:pt x="48672" y="14192"/>
                      <a:pt x="43348" y="14192"/>
                    </a:cubicBezTo>
                    <a:cubicBezTo>
                      <a:pt x="34507" y="14192"/>
                      <a:pt x="29659" y="18860"/>
                      <a:pt x="29659" y="27337"/>
                    </a:cubicBezTo>
                    <a:lnTo>
                      <a:pt x="29659" y="34195"/>
                    </a:lnTo>
                    <a:lnTo>
                      <a:pt x="56467" y="34195"/>
                    </a:lnTo>
                    <a:lnTo>
                      <a:pt x="56467" y="48387"/>
                    </a:lnTo>
                    <a:lnTo>
                      <a:pt x="29659" y="48387"/>
                    </a:lnTo>
                    <a:lnTo>
                      <a:pt x="29659" y="111252"/>
                    </a:lnTo>
                    <a:lnTo>
                      <a:pt x="12168" y="111252"/>
                    </a:lnTo>
                    <a:lnTo>
                      <a:pt x="12168" y="48387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79438928-D0F1-DEF0-D5C6-776EEF2A7C0B}"/>
                  </a:ext>
                </a:extLst>
              </p:cNvPr>
              <p:cNvSpPr/>
              <p:nvPr/>
            </p:nvSpPr>
            <p:spPr>
              <a:xfrm>
                <a:off x="6497732" y="3904773"/>
                <a:ext cx="80517" cy="79533"/>
              </a:xfrm>
              <a:custGeom>
                <a:avLst/>
                <a:gdLst>
                  <a:gd name="connsiteX0" fmla="*/ 0 w 80517"/>
                  <a:gd name="connsiteY0" fmla="*/ 39910 h 79533"/>
                  <a:gd name="connsiteX1" fmla="*/ 40211 w 80517"/>
                  <a:gd name="connsiteY1" fmla="*/ 0 h 79533"/>
                  <a:gd name="connsiteX2" fmla="*/ 80518 w 80517"/>
                  <a:gd name="connsiteY2" fmla="*/ 39910 h 79533"/>
                  <a:gd name="connsiteX3" fmla="*/ 40211 w 80517"/>
                  <a:gd name="connsiteY3" fmla="*/ 79534 h 79533"/>
                  <a:gd name="connsiteX4" fmla="*/ 0 w 80517"/>
                  <a:gd name="connsiteY4" fmla="*/ 39910 h 79533"/>
                  <a:gd name="connsiteX5" fmla="*/ 63121 w 80517"/>
                  <a:gd name="connsiteY5" fmla="*/ 39910 h 79533"/>
                  <a:gd name="connsiteX6" fmla="*/ 40211 w 80517"/>
                  <a:gd name="connsiteY6" fmla="*/ 14288 h 79533"/>
                  <a:gd name="connsiteX7" fmla="*/ 17492 w 80517"/>
                  <a:gd name="connsiteY7" fmla="*/ 39910 h 79533"/>
                  <a:gd name="connsiteX8" fmla="*/ 40211 w 80517"/>
                  <a:gd name="connsiteY8" fmla="*/ 65151 h 79533"/>
                  <a:gd name="connsiteX9" fmla="*/ 63121 w 80517"/>
                  <a:gd name="connsiteY9" fmla="*/ 39910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517" h="79533">
                    <a:moveTo>
                      <a:pt x="0" y="39910"/>
                    </a:moveTo>
                    <a:cubicBezTo>
                      <a:pt x="0" y="15240"/>
                      <a:pt x="15780" y="0"/>
                      <a:pt x="40211" y="0"/>
                    </a:cubicBezTo>
                    <a:cubicBezTo>
                      <a:pt x="64642" y="0"/>
                      <a:pt x="80518" y="15335"/>
                      <a:pt x="80518" y="39910"/>
                    </a:cubicBezTo>
                    <a:cubicBezTo>
                      <a:pt x="80518" y="64484"/>
                      <a:pt x="64737" y="79534"/>
                      <a:pt x="40211" y="79534"/>
                    </a:cubicBezTo>
                    <a:cubicBezTo>
                      <a:pt x="15685" y="79534"/>
                      <a:pt x="0" y="64389"/>
                      <a:pt x="0" y="39910"/>
                    </a:cubicBezTo>
                    <a:close/>
                    <a:moveTo>
                      <a:pt x="63121" y="39910"/>
                    </a:moveTo>
                    <a:cubicBezTo>
                      <a:pt x="63121" y="24098"/>
                      <a:pt x="54376" y="14288"/>
                      <a:pt x="40211" y="14288"/>
                    </a:cubicBezTo>
                    <a:cubicBezTo>
                      <a:pt x="26047" y="14288"/>
                      <a:pt x="17492" y="24098"/>
                      <a:pt x="17492" y="39910"/>
                    </a:cubicBezTo>
                    <a:cubicBezTo>
                      <a:pt x="17492" y="55721"/>
                      <a:pt x="26047" y="65151"/>
                      <a:pt x="40211" y="65151"/>
                    </a:cubicBezTo>
                    <a:cubicBezTo>
                      <a:pt x="54376" y="65151"/>
                      <a:pt x="63121" y="55435"/>
                      <a:pt x="63121" y="39910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A37F2F3B-B6C6-6013-7133-C133D7A44A05}"/>
                  </a:ext>
                </a:extLst>
              </p:cNvPr>
              <p:cNvSpPr/>
              <p:nvPr/>
            </p:nvSpPr>
            <p:spPr>
              <a:xfrm>
                <a:off x="6593174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1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0 w 70250"/>
                  <a:gd name="connsiteY8" fmla="*/ 34004 h 78295"/>
                  <a:gd name="connsiteX9" fmla="*/ 38975 w 70250"/>
                  <a:gd name="connsiteY9" fmla="*/ 14954 h 78295"/>
                  <a:gd name="connsiteX10" fmla="*/ 17491 w 70250"/>
                  <a:gd name="connsiteY10" fmla="*/ 44577 h 78295"/>
                  <a:gd name="connsiteX11" fmla="*/ 17491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8975" y="14954"/>
                    </a:cubicBezTo>
                    <a:cubicBezTo>
                      <a:pt x="25762" y="14954"/>
                      <a:pt x="17491" y="26194"/>
                      <a:pt x="17491" y="44577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3971A5F6-9397-7BF4-C49F-39D9D111E81B}"/>
                  </a:ext>
                </a:extLst>
              </p:cNvPr>
              <p:cNvSpPr/>
              <p:nvPr/>
            </p:nvSpPr>
            <p:spPr>
              <a:xfrm>
                <a:off x="6678445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293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2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BCB379F9-4F1C-2D5E-B01B-E88654350561}"/>
                  </a:ext>
                </a:extLst>
              </p:cNvPr>
              <p:cNvSpPr/>
              <p:nvPr/>
            </p:nvSpPr>
            <p:spPr>
              <a:xfrm>
                <a:off x="6819708" y="3879818"/>
                <a:ext cx="17871" cy="103250"/>
              </a:xfrm>
              <a:custGeom>
                <a:avLst/>
                <a:gdLst>
                  <a:gd name="connsiteX0" fmla="*/ 0 w 17871"/>
                  <a:gd name="connsiteY0" fmla="*/ 0 h 103250"/>
                  <a:gd name="connsiteX1" fmla="*/ 17872 w 17871"/>
                  <a:gd name="connsiteY1" fmla="*/ 0 h 103250"/>
                  <a:gd name="connsiteX2" fmla="*/ 17872 w 17871"/>
                  <a:gd name="connsiteY2" fmla="*/ 17145 h 103250"/>
                  <a:gd name="connsiteX3" fmla="*/ 0 w 17871"/>
                  <a:gd name="connsiteY3" fmla="*/ 17145 h 103250"/>
                  <a:gd name="connsiteX4" fmla="*/ 0 w 17871"/>
                  <a:gd name="connsiteY4" fmla="*/ 0 h 103250"/>
                  <a:gd name="connsiteX5" fmla="*/ 190 w 17871"/>
                  <a:gd name="connsiteY5" fmla="*/ 26194 h 103250"/>
                  <a:gd name="connsiteX6" fmla="*/ 17682 w 17871"/>
                  <a:gd name="connsiteY6" fmla="*/ 26194 h 103250"/>
                  <a:gd name="connsiteX7" fmla="*/ 17682 w 17871"/>
                  <a:gd name="connsiteY7" fmla="*/ 103251 h 103250"/>
                  <a:gd name="connsiteX8" fmla="*/ 190 w 17871"/>
                  <a:gd name="connsiteY8" fmla="*/ 103251 h 103250"/>
                  <a:gd name="connsiteX9" fmla="*/ 190 w 17871"/>
                  <a:gd name="connsiteY9" fmla="*/ 26194 h 1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871" h="103250">
                    <a:moveTo>
                      <a:pt x="0" y="0"/>
                    </a:moveTo>
                    <a:lnTo>
                      <a:pt x="17872" y="0"/>
                    </a:lnTo>
                    <a:lnTo>
                      <a:pt x="17872" y="17145"/>
                    </a:lnTo>
                    <a:lnTo>
                      <a:pt x="0" y="17145"/>
                    </a:lnTo>
                    <a:lnTo>
                      <a:pt x="0" y="0"/>
                    </a:lnTo>
                    <a:close/>
                    <a:moveTo>
                      <a:pt x="190" y="26194"/>
                    </a:moveTo>
                    <a:lnTo>
                      <a:pt x="17682" y="26194"/>
                    </a:lnTo>
                    <a:lnTo>
                      <a:pt x="17682" y="103251"/>
                    </a:lnTo>
                    <a:lnTo>
                      <a:pt x="190" y="103251"/>
                    </a:lnTo>
                    <a:lnTo>
                      <a:pt x="190" y="26194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AD7E26AB-0D70-DBF0-838B-CC34D06E20F5}"/>
                  </a:ext>
                </a:extLst>
              </p:cNvPr>
              <p:cNvSpPr/>
              <p:nvPr/>
            </p:nvSpPr>
            <p:spPr>
              <a:xfrm>
                <a:off x="6855546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2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2 w 80612"/>
                  <a:gd name="connsiteY10" fmla="*/ 41053 h 78390"/>
                  <a:gd name="connsiteX11" fmla="*/ 17492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2" y="24194"/>
                      <a:pt x="17492" y="41053"/>
                    </a:cubicBezTo>
                    <a:lnTo>
                      <a:pt x="17492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3F84DA9E-E7D5-1416-73C2-79836D609BEF}"/>
                  </a:ext>
                </a:extLst>
              </p:cNvPr>
              <p:cNvSpPr/>
              <p:nvPr/>
            </p:nvSpPr>
            <p:spPr>
              <a:xfrm>
                <a:off x="6950133" y="3890581"/>
                <a:ext cx="82133" cy="125730"/>
              </a:xfrm>
              <a:custGeom>
                <a:avLst/>
                <a:gdLst>
                  <a:gd name="connsiteX0" fmla="*/ 82039 w 82133"/>
                  <a:gd name="connsiteY0" fmla="*/ 99822 h 125730"/>
                  <a:gd name="connsiteX1" fmla="*/ 41542 w 82133"/>
                  <a:gd name="connsiteY1" fmla="*/ 125730 h 125730"/>
                  <a:gd name="connsiteX2" fmla="*/ 0 w 82133"/>
                  <a:gd name="connsiteY2" fmla="*/ 103918 h 125730"/>
                  <a:gd name="connsiteX3" fmla="*/ 14925 w 82133"/>
                  <a:gd name="connsiteY3" fmla="*/ 89916 h 125730"/>
                  <a:gd name="connsiteX4" fmla="*/ 14925 w 82133"/>
                  <a:gd name="connsiteY4" fmla="*/ 89725 h 125730"/>
                  <a:gd name="connsiteX5" fmla="*/ 8175 w 82133"/>
                  <a:gd name="connsiteY5" fmla="*/ 77057 h 125730"/>
                  <a:gd name="connsiteX6" fmla="*/ 15305 w 82133"/>
                  <a:gd name="connsiteY6" fmla="*/ 63913 h 125730"/>
                  <a:gd name="connsiteX7" fmla="*/ 15305 w 82133"/>
                  <a:gd name="connsiteY7" fmla="*/ 63627 h 125730"/>
                  <a:gd name="connsiteX8" fmla="*/ 3422 w 82133"/>
                  <a:gd name="connsiteY8" fmla="*/ 41624 h 125730"/>
                  <a:gd name="connsiteX9" fmla="*/ 37740 w 82133"/>
                  <a:gd name="connsiteY9" fmla="*/ 14192 h 125730"/>
                  <a:gd name="connsiteX10" fmla="*/ 59224 w 82133"/>
                  <a:gd name="connsiteY10" fmla="*/ 19145 h 125730"/>
                  <a:gd name="connsiteX11" fmla="*/ 59414 w 82133"/>
                  <a:gd name="connsiteY11" fmla="*/ 18955 h 125730"/>
                  <a:gd name="connsiteX12" fmla="*/ 55706 w 82133"/>
                  <a:gd name="connsiteY12" fmla="*/ 10192 h 125730"/>
                  <a:gd name="connsiteX13" fmla="*/ 70821 w 82133"/>
                  <a:gd name="connsiteY13" fmla="*/ 0 h 125730"/>
                  <a:gd name="connsiteX14" fmla="*/ 78616 w 82133"/>
                  <a:gd name="connsiteY14" fmla="*/ 762 h 125730"/>
                  <a:gd name="connsiteX15" fmla="*/ 78616 w 82133"/>
                  <a:gd name="connsiteY15" fmla="*/ 13049 h 125730"/>
                  <a:gd name="connsiteX16" fmla="*/ 73483 w 82133"/>
                  <a:gd name="connsiteY16" fmla="*/ 12287 h 125730"/>
                  <a:gd name="connsiteX17" fmla="*/ 65878 w 82133"/>
                  <a:gd name="connsiteY17" fmla="*/ 18669 h 125730"/>
                  <a:gd name="connsiteX18" fmla="*/ 67589 w 82133"/>
                  <a:gd name="connsiteY18" fmla="*/ 26479 h 125730"/>
                  <a:gd name="connsiteX19" fmla="*/ 72152 w 82133"/>
                  <a:gd name="connsiteY19" fmla="*/ 41434 h 125730"/>
                  <a:gd name="connsiteX20" fmla="*/ 37930 w 82133"/>
                  <a:gd name="connsiteY20" fmla="*/ 68866 h 125730"/>
                  <a:gd name="connsiteX21" fmla="*/ 24336 w 82133"/>
                  <a:gd name="connsiteY21" fmla="*/ 67151 h 125730"/>
                  <a:gd name="connsiteX22" fmla="*/ 22435 w 82133"/>
                  <a:gd name="connsiteY22" fmla="*/ 73057 h 125730"/>
                  <a:gd name="connsiteX23" fmla="*/ 31180 w 82133"/>
                  <a:gd name="connsiteY23" fmla="*/ 80105 h 125730"/>
                  <a:gd name="connsiteX24" fmla="*/ 56087 w 82133"/>
                  <a:gd name="connsiteY24" fmla="*/ 80105 h 125730"/>
                  <a:gd name="connsiteX25" fmla="*/ 82134 w 82133"/>
                  <a:gd name="connsiteY25" fmla="*/ 99631 h 125730"/>
                  <a:gd name="connsiteX26" fmla="*/ 64547 w 82133"/>
                  <a:gd name="connsiteY26" fmla="*/ 101822 h 125730"/>
                  <a:gd name="connsiteX27" fmla="*/ 52379 w 82133"/>
                  <a:gd name="connsiteY27" fmla="*/ 93821 h 125730"/>
                  <a:gd name="connsiteX28" fmla="*/ 31466 w 82133"/>
                  <a:gd name="connsiteY28" fmla="*/ 93821 h 125730"/>
                  <a:gd name="connsiteX29" fmla="*/ 17111 w 82133"/>
                  <a:gd name="connsiteY29" fmla="*/ 102394 h 125730"/>
                  <a:gd name="connsiteX30" fmla="*/ 41257 w 82133"/>
                  <a:gd name="connsiteY30" fmla="*/ 113348 h 125730"/>
                  <a:gd name="connsiteX31" fmla="*/ 64452 w 82133"/>
                  <a:gd name="connsiteY31" fmla="*/ 101822 h 125730"/>
                  <a:gd name="connsiteX32" fmla="*/ 20153 w 82133"/>
                  <a:gd name="connsiteY32" fmla="*/ 41624 h 125730"/>
                  <a:gd name="connsiteX33" fmla="*/ 37740 w 82133"/>
                  <a:gd name="connsiteY33" fmla="*/ 56579 h 125730"/>
                  <a:gd name="connsiteX34" fmla="*/ 55326 w 82133"/>
                  <a:gd name="connsiteY34" fmla="*/ 41624 h 125730"/>
                  <a:gd name="connsiteX35" fmla="*/ 37740 w 82133"/>
                  <a:gd name="connsiteY35" fmla="*/ 26670 h 125730"/>
                  <a:gd name="connsiteX36" fmla="*/ 20153 w 82133"/>
                  <a:gd name="connsiteY36" fmla="*/ 41624 h 12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82133" h="125730">
                    <a:moveTo>
                      <a:pt x="82039" y="99822"/>
                    </a:moveTo>
                    <a:cubicBezTo>
                      <a:pt x="82039" y="116015"/>
                      <a:pt x="66924" y="125730"/>
                      <a:pt x="41542" y="125730"/>
                    </a:cubicBezTo>
                    <a:cubicBezTo>
                      <a:pt x="16160" y="125730"/>
                      <a:pt x="0" y="117729"/>
                      <a:pt x="0" y="103918"/>
                    </a:cubicBezTo>
                    <a:cubicBezTo>
                      <a:pt x="0" y="96107"/>
                      <a:pt x="5799" y="90297"/>
                      <a:pt x="14925" y="89916"/>
                    </a:cubicBezTo>
                    <a:lnTo>
                      <a:pt x="14925" y="89725"/>
                    </a:lnTo>
                    <a:cubicBezTo>
                      <a:pt x="10552" y="86773"/>
                      <a:pt x="8175" y="82582"/>
                      <a:pt x="8175" y="77057"/>
                    </a:cubicBezTo>
                    <a:cubicBezTo>
                      <a:pt x="8175" y="70485"/>
                      <a:pt x="11122" y="66008"/>
                      <a:pt x="15305" y="63913"/>
                    </a:cubicBezTo>
                    <a:lnTo>
                      <a:pt x="15305" y="63627"/>
                    </a:lnTo>
                    <a:cubicBezTo>
                      <a:pt x="7700" y="58960"/>
                      <a:pt x="3422" y="51340"/>
                      <a:pt x="3422" y="41624"/>
                    </a:cubicBezTo>
                    <a:cubicBezTo>
                      <a:pt x="3422" y="24765"/>
                      <a:pt x="16541" y="14192"/>
                      <a:pt x="37740" y="14192"/>
                    </a:cubicBezTo>
                    <a:cubicBezTo>
                      <a:pt x="46485" y="14192"/>
                      <a:pt x="53615" y="15907"/>
                      <a:pt x="59224" y="19145"/>
                    </a:cubicBezTo>
                    <a:lnTo>
                      <a:pt x="59414" y="18955"/>
                    </a:lnTo>
                    <a:cubicBezTo>
                      <a:pt x="57037" y="16478"/>
                      <a:pt x="55706" y="13525"/>
                      <a:pt x="55706" y="10192"/>
                    </a:cubicBezTo>
                    <a:cubicBezTo>
                      <a:pt x="55706" y="3905"/>
                      <a:pt x="61600" y="0"/>
                      <a:pt x="70821" y="0"/>
                    </a:cubicBezTo>
                    <a:cubicBezTo>
                      <a:pt x="74529" y="0"/>
                      <a:pt x="76715" y="286"/>
                      <a:pt x="78616" y="762"/>
                    </a:cubicBezTo>
                    <a:lnTo>
                      <a:pt x="78616" y="13049"/>
                    </a:lnTo>
                    <a:cubicBezTo>
                      <a:pt x="77380" y="12573"/>
                      <a:pt x="75669" y="12287"/>
                      <a:pt x="73483" y="12287"/>
                    </a:cubicBezTo>
                    <a:cubicBezTo>
                      <a:pt x="68350" y="12287"/>
                      <a:pt x="65878" y="14478"/>
                      <a:pt x="65878" y="18669"/>
                    </a:cubicBezTo>
                    <a:cubicBezTo>
                      <a:pt x="65878" y="20860"/>
                      <a:pt x="66638" y="23527"/>
                      <a:pt x="67589" y="26479"/>
                    </a:cubicBezTo>
                    <a:cubicBezTo>
                      <a:pt x="70536" y="30575"/>
                      <a:pt x="72152" y="35719"/>
                      <a:pt x="72152" y="41434"/>
                    </a:cubicBezTo>
                    <a:cubicBezTo>
                      <a:pt x="72152" y="58483"/>
                      <a:pt x="59034" y="68866"/>
                      <a:pt x="37930" y="68866"/>
                    </a:cubicBezTo>
                    <a:cubicBezTo>
                      <a:pt x="32987" y="68866"/>
                      <a:pt x="28423" y="68199"/>
                      <a:pt x="24336" y="67151"/>
                    </a:cubicBezTo>
                    <a:cubicBezTo>
                      <a:pt x="23385" y="68199"/>
                      <a:pt x="22435" y="70390"/>
                      <a:pt x="22435" y="73057"/>
                    </a:cubicBezTo>
                    <a:cubicBezTo>
                      <a:pt x="22435" y="77438"/>
                      <a:pt x="25572" y="80105"/>
                      <a:pt x="31180" y="80105"/>
                    </a:cubicBezTo>
                    <a:lnTo>
                      <a:pt x="56087" y="80105"/>
                    </a:lnTo>
                    <a:cubicBezTo>
                      <a:pt x="72627" y="80105"/>
                      <a:pt x="82134" y="87249"/>
                      <a:pt x="82134" y="99631"/>
                    </a:cubicBezTo>
                    <a:close/>
                    <a:moveTo>
                      <a:pt x="64547" y="101822"/>
                    </a:moveTo>
                    <a:cubicBezTo>
                      <a:pt x="64547" y="96679"/>
                      <a:pt x="60650" y="93821"/>
                      <a:pt x="52379" y="93821"/>
                    </a:cubicBezTo>
                    <a:lnTo>
                      <a:pt x="31466" y="93821"/>
                    </a:lnTo>
                    <a:cubicBezTo>
                      <a:pt x="22720" y="93821"/>
                      <a:pt x="17111" y="96488"/>
                      <a:pt x="17111" y="102394"/>
                    </a:cubicBezTo>
                    <a:cubicBezTo>
                      <a:pt x="17111" y="109728"/>
                      <a:pt x="26427" y="113348"/>
                      <a:pt x="41257" y="113348"/>
                    </a:cubicBezTo>
                    <a:cubicBezTo>
                      <a:pt x="57608" y="113348"/>
                      <a:pt x="64452" y="108680"/>
                      <a:pt x="64452" y="101822"/>
                    </a:cubicBezTo>
                    <a:close/>
                    <a:moveTo>
                      <a:pt x="20153" y="41624"/>
                    </a:moveTo>
                    <a:cubicBezTo>
                      <a:pt x="20153" y="50864"/>
                      <a:pt x="26902" y="56579"/>
                      <a:pt x="37740" y="56579"/>
                    </a:cubicBezTo>
                    <a:cubicBezTo>
                      <a:pt x="48577" y="56579"/>
                      <a:pt x="55326" y="50768"/>
                      <a:pt x="55326" y="41624"/>
                    </a:cubicBezTo>
                    <a:cubicBezTo>
                      <a:pt x="55326" y="32480"/>
                      <a:pt x="48672" y="26670"/>
                      <a:pt x="37740" y="26670"/>
                    </a:cubicBezTo>
                    <a:cubicBezTo>
                      <a:pt x="26808" y="26670"/>
                      <a:pt x="20153" y="32480"/>
                      <a:pt x="20153" y="4162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BF980F22-BEF2-C107-762F-CA815A92C475}"/>
                  </a:ext>
                </a:extLst>
              </p:cNvPr>
              <p:cNvSpPr/>
              <p:nvPr/>
            </p:nvSpPr>
            <p:spPr>
              <a:xfrm>
                <a:off x="7081699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388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1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3" name="Freeform 43">
                <a:extLst>
                  <a:ext uri="{FF2B5EF4-FFF2-40B4-BE49-F238E27FC236}">
                    <a16:creationId xmlns:a16="http://schemas.microsoft.com/office/drawing/2014/main" id="{FF86A35C-1EC7-6521-A200-B8380194F4FC}"/>
                  </a:ext>
                </a:extLst>
              </p:cNvPr>
              <p:cNvSpPr/>
              <p:nvPr/>
            </p:nvSpPr>
            <p:spPr>
              <a:xfrm>
                <a:off x="7220394" y="3904773"/>
                <a:ext cx="74813" cy="79533"/>
              </a:xfrm>
              <a:custGeom>
                <a:avLst/>
                <a:gdLst>
                  <a:gd name="connsiteX0" fmla="*/ 0 w 74813"/>
                  <a:gd name="connsiteY0" fmla="*/ 56198 h 79533"/>
                  <a:gd name="connsiteX1" fmla="*/ 28804 w 74813"/>
                  <a:gd name="connsiteY1" fmla="*/ 35243 h 79533"/>
                  <a:gd name="connsiteX2" fmla="*/ 57322 w 74813"/>
                  <a:gd name="connsiteY2" fmla="*/ 35243 h 79533"/>
                  <a:gd name="connsiteX3" fmla="*/ 57322 w 74813"/>
                  <a:gd name="connsiteY3" fmla="*/ 29813 h 79533"/>
                  <a:gd name="connsiteX4" fmla="*/ 37074 w 74813"/>
                  <a:gd name="connsiteY4" fmla="*/ 13145 h 79533"/>
                  <a:gd name="connsiteX5" fmla="*/ 18537 w 74813"/>
                  <a:gd name="connsiteY5" fmla="*/ 26289 h 79533"/>
                  <a:gd name="connsiteX6" fmla="*/ 18727 w 74813"/>
                  <a:gd name="connsiteY6" fmla="*/ 29242 h 79533"/>
                  <a:gd name="connsiteX7" fmla="*/ 2662 w 74813"/>
                  <a:gd name="connsiteY7" fmla="*/ 29242 h 79533"/>
                  <a:gd name="connsiteX8" fmla="*/ 2377 w 74813"/>
                  <a:gd name="connsiteY8" fmla="*/ 24670 h 79533"/>
                  <a:gd name="connsiteX9" fmla="*/ 37740 w 74813"/>
                  <a:gd name="connsiteY9" fmla="*/ 0 h 79533"/>
                  <a:gd name="connsiteX10" fmla="*/ 74814 w 74813"/>
                  <a:gd name="connsiteY10" fmla="*/ 31337 h 79533"/>
                  <a:gd name="connsiteX11" fmla="*/ 74814 w 74813"/>
                  <a:gd name="connsiteY11" fmla="*/ 78296 h 79533"/>
                  <a:gd name="connsiteX12" fmla="*/ 57322 w 74813"/>
                  <a:gd name="connsiteY12" fmla="*/ 78296 h 79533"/>
                  <a:gd name="connsiteX13" fmla="*/ 58083 w 74813"/>
                  <a:gd name="connsiteY13" fmla="*/ 61246 h 79533"/>
                  <a:gd name="connsiteX14" fmla="*/ 57893 w 74813"/>
                  <a:gd name="connsiteY14" fmla="*/ 61246 h 79533"/>
                  <a:gd name="connsiteX15" fmla="*/ 29279 w 74813"/>
                  <a:gd name="connsiteY15" fmla="*/ 79534 h 79533"/>
                  <a:gd name="connsiteX16" fmla="*/ 0 w 74813"/>
                  <a:gd name="connsiteY16" fmla="*/ 56102 h 79533"/>
                  <a:gd name="connsiteX17" fmla="*/ 57322 w 74813"/>
                  <a:gd name="connsiteY17" fmla="*/ 47339 h 79533"/>
                  <a:gd name="connsiteX18" fmla="*/ 57322 w 74813"/>
                  <a:gd name="connsiteY18" fmla="*/ 45910 h 79533"/>
                  <a:gd name="connsiteX19" fmla="*/ 30420 w 74813"/>
                  <a:gd name="connsiteY19" fmla="*/ 45910 h 79533"/>
                  <a:gd name="connsiteX20" fmla="*/ 16066 w 74813"/>
                  <a:gd name="connsiteY20" fmla="*/ 55435 h 79533"/>
                  <a:gd name="connsiteX21" fmla="*/ 32891 w 74813"/>
                  <a:gd name="connsiteY21" fmla="*/ 66485 h 79533"/>
                  <a:gd name="connsiteX22" fmla="*/ 57322 w 74813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813" h="79533">
                    <a:moveTo>
                      <a:pt x="0" y="56198"/>
                    </a:moveTo>
                    <a:cubicBezTo>
                      <a:pt x="0" y="44482"/>
                      <a:pt x="8270" y="35243"/>
                      <a:pt x="28804" y="35243"/>
                    </a:cubicBezTo>
                    <a:lnTo>
                      <a:pt x="57322" y="35243"/>
                    </a:lnTo>
                    <a:lnTo>
                      <a:pt x="57322" y="29813"/>
                    </a:lnTo>
                    <a:cubicBezTo>
                      <a:pt x="57322" y="18288"/>
                      <a:pt x="50668" y="13145"/>
                      <a:pt x="37074" y="13145"/>
                    </a:cubicBezTo>
                    <a:cubicBezTo>
                      <a:pt x="25287" y="13145"/>
                      <a:pt x="18537" y="17717"/>
                      <a:pt x="18537" y="26289"/>
                    </a:cubicBezTo>
                    <a:cubicBezTo>
                      <a:pt x="18537" y="26765"/>
                      <a:pt x="18537" y="28004"/>
                      <a:pt x="18727" y="29242"/>
                    </a:cubicBezTo>
                    <a:lnTo>
                      <a:pt x="2662" y="29242"/>
                    </a:lnTo>
                    <a:cubicBezTo>
                      <a:pt x="2472" y="28099"/>
                      <a:pt x="2377" y="26099"/>
                      <a:pt x="2377" y="24670"/>
                    </a:cubicBezTo>
                    <a:cubicBezTo>
                      <a:pt x="2377" y="9239"/>
                      <a:pt x="15780" y="0"/>
                      <a:pt x="37740" y="0"/>
                    </a:cubicBezTo>
                    <a:cubicBezTo>
                      <a:pt x="61125" y="0"/>
                      <a:pt x="74814" y="11049"/>
                      <a:pt x="74814" y="31337"/>
                    </a:cubicBezTo>
                    <a:lnTo>
                      <a:pt x="74814" y="78296"/>
                    </a:lnTo>
                    <a:lnTo>
                      <a:pt x="57322" y="78296"/>
                    </a:lnTo>
                    <a:cubicBezTo>
                      <a:pt x="57608" y="74581"/>
                      <a:pt x="58083" y="67532"/>
                      <a:pt x="58083" y="61246"/>
                    </a:cubicBezTo>
                    <a:lnTo>
                      <a:pt x="57893" y="61246"/>
                    </a:lnTo>
                    <a:cubicBezTo>
                      <a:pt x="55421" y="72676"/>
                      <a:pt x="46200" y="79534"/>
                      <a:pt x="29279" y="79534"/>
                    </a:cubicBezTo>
                    <a:cubicBezTo>
                      <a:pt x="12358" y="79534"/>
                      <a:pt x="0" y="71152"/>
                      <a:pt x="0" y="56102"/>
                    </a:cubicBezTo>
                    <a:close/>
                    <a:moveTo>
                      <a:pt x="57322" y="47339"/>
                    </a:moveTo>
                    <a:lnTo>
                      <a:pt x="57322" y="45910"/>
                    </a:lnTo>
                    <a:lnTo>
                      <a:pt x="30420" y="45910"/>
                    </a:lnTo>
                    <a:cubicBezTo>
                      <a:pt x="20438" y="45910"/>
                      <a:pt x="16066" y="49340"/>
                      <a:pt x="16066" y="55435"/>
                    </a:cubicBezTo>
                    <a:cubicBezTo>
                      <a:pt x="16066" y="62484"/>
                      <a:pt x="22340" y="66485"/>
                      <a:pt x="32891" y="66485"/>
                    </a:cubicBezTo>
                    <a:cubicBezTo>
                      <a:pt x="48006" y="66485"/>
                      <a:pt x="57322" y="59150"/>
                      <a:pt x="57322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4" name="Freeform 44">
                <a:extLst>
                  <a:ext uri="{FF2B5EF4-FFF2-40B4-BE49-F238E27FC236}">
                    <a16:creationId xmlns:a16="http://schemas.microsoft.com/office/drawing/2014/main" id="{ED713FE6-5C94-CA15-6308-8885DB331322}"/>
                  </a:ext>
                </a:extLst>
              </p:cNvPr>
              <p:cNvSpPr/>
              <p:nvPr/>
            </p:nvSpPr>
            <p:spPr>
              <a:xfrm>
                <a:off x="7311844" y="3904773"/>
                <a:ext cx="70251" cy="78295"/>
              </a:xfrm>
              <a:custGeom>
                <a:avLst/>
                <a:gdLst>
                  <a:gd name="connsiteX0" fmla="*/ 0 w 70251"/>
                  <a:gd name="connsiteY0" fmla="*/ 1238 h 78295"/>
                  <a:gd name="connsiteX1" fmla="*/ 17491 w 70251"/>
                  <a:gd name="connsiteY1" fmla="*/ 1238 h 78295"/>
                  <a:gd name="connsiteX2" fmla="*/ 16826 w 70251"/>
                  <a:gd name="connsiteY2" fmla="*/ 23432 h 78295"/>
                  <a:gd name="connsiteX3" fmla="*/ 17016 w 70251"/>
                  <a:gd name="connsiteY3" fmla="*/ 23432 h 78295"/>
                  <a:gd name="connsiteX4" fmla="*/ 44394 w 70251"/>
                  <a:gd name="connsiteY4" fmla="*/ 0 h 78295"/>
                  <a:gd name="connsiteX5" fmla="*/ 70251 w 70251"/>
                  <a:gd name="connsiteY5" fmla="*/ 30099 h 78295"/>
                  <a:gd name="connsiteX6" fmla="*/ 69490 w 70251"/>
                  <a:gd name="connsiteY6" fmla="*/ 44482 h 78295"/>
                  <a:gd name="connsiteX7" fmla="*/ 53615 w 70251"/>
                  <a:gd name="connsiteY7" fmla="*/ 44482 h 78295"/>
                  <a:gd name="connsiteX8" fmla="*/ 54280 w 70251"/>
                  <a:gd name="connsiteY8" fmla="*/ 34004 h 78295"/>
                  <a:gd name="connsiteX9" fmla="*/ 39071 w 70251"/>
                  <a:gd name="connsiteY9" fmla="*/ 14954 h 78295"/>
                  <a:gd name="connsiteX10" fmla="*/ 17587 w 70251"/>
                  <a:gd name="connsiteY10" fmla="*/ 44577 h 78295"/>
                  <a:gd name="connsiteX11" fmla="*/ 17587 w 70251"/>
                  <a:gd name="connsiteY11" fmla="*/ 78296 h 78295"/>
                  <a:gd name="connsiteX12" fmla="*/ 95 w 70251"/>
                  <a:gd name="connsiteY12" fmla="*/ 78296 h 78295"/>
                  <a:gd name="connsiteX13" fmla="*/ 95 w 70251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1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9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9071" y="14954"/>
                    </a:cubicBezTo>
                    <a:cubicBezTo>
                      <a:pt x="25857" y="14954"/>
                      <a:pt x="17587" y="26194"/>
                      <a:pt x="17587" y="44577"/>
                    </a:cubicBezTo>
                    <a:lnTo>
                      <a:pt x="17587" y="78296"/>
                    </a:lnTo>
                    <a:lnTo>
                      <a:pt x="95" y="78296"/>
                    </a:lnTo>
                    <a:lnTo>
                      <a:pt x="95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5" name="Freeform 45">
                <a:extLst>
                  <a:ext uri="{FF2B5EF4-FFF2-40B4-BE49-F238E27FC236}">
                    <a16:creationId xmlns:a16="http://schemas.microsoft.com/office/drawing/2014/main" id="{396D193E-6C8F-2448-7E48-88005E77CDFA}"/>
                  </a:ext>
                </a:extLst>
              </p:cNvPr>
              <p:cNvSpPr/>
              <p:nvPr/>
            </p:nvSpPr>
            <p:spPr>
              <a:xfrm>
                <a:off x="7397495" y="3874865"/>
                <a:ext cx="83749" cy="108204"/>
              </a:xfrm>
              <a:custGeom>
                <a:avLst/>
                <a:gdLst>
                  <a:gd name="connsiteX0" fmla="*/ 0 w 83749"/>
                  <a:gd name="connsiteY0" fmla="*/ 95 h 108204"/>
                  <a:gd name="connsiteX1" fmla="*/ 17491 w 83749"/>
                  <a:gd name="connsiteY1" fmla="*/ 95 h 108204"/>
                  <a:gd name="connsiteX2" fmla="*/ 17491 w 83749"/>
                  <a:gd name="connsiteY2" fmla="*/ 71533 h 108204"/>
                  <a:gd name="connsiteX3" fmla="*/ 17681 w 83749"/>
                  <a:gd name="connsiteY3" fmla="*/ 71533 h 108204"/>
                  <a:gd name="connsiteX4" fmla="*/ 59129 w 83749"/>
                  <a:gd name="connsiteY4" fmla="*/ 31147 h 108204"/>
                  <a:gd name="connsiteX5" fmla="*/ 81753 w 83749"/>
                  <a:gd name="connsiteY5" fmla="*/ 31147 h 108204"/>
                  <a:gd name="connsiteX6" fmla="*/ 45725 w 83749"/>
                  <a:gd name="connsiteY6" fmla="*/ 64675 h 108204"/>
                  <a:gd name="connsiteX7" fmla="*/ 83750 w 83749"/>
                  <a:gd name="connsiteY7" fmla="*/ 108204 h 108204"/>
                  <a:gd name="connsiteX8" fmla="*/ 60079 w 83749"/>
                  <a:gd name="connsiteY8" fmla="*/ 108204 h 108204"/>
                  <a:gd name="connsiteX9" fmla="*/ 32987 w 83749"/>
                  <a:gd name="connsiteY9" fmla="*/ 75724 h 108204"/>
                  <a:gd name="connsiteX10" fmla="*/ 17587 w 83749"/>
                  <a:gd name="connsiteY10" fmla="*/ 89916 h 108204"/>
                  <a:gd name="connsiteX11" fmla="*/ 17587 w 83749"/>
                  <a:gd name="connsiteY11" fmla="*/ 108204 h 108204"/>
                  <a:gd name="connsiteX12" fmla="*/ 95 w 83749"/>
                  <a:gd name="connsiteY12" fmla="*/ 108204 h 108204"/>
                  <a:gd name="connsiteX13" fmla="*/ 95 w 83749"/>
                  <a:gd name="connsiteY13" fmla="*/ 0 h 10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749" h="108204">
                    <a:moveTo>
                      <a:pt x="0" y="95"/>
                    </a:moveTo>
                    <a:lnTo>
                      <a:pt x="17491" y="95"/>
                    </a:lnTo>
                    <a:lnTo>
                      <a:pt x="17491" y="71533"/>
                    </a:lnTo>
                    <a:lnTo>
                      <a:pt x="17681" y="71533"/>
                    </a:lnTo>
                    <a:lnTo>
                      <a:pt x="59129" y="31147"/>
                    </a:lnTo>
                    <a:lnTo>
                      <a:pt x="81753" y="31147"/>
                    </a:lnTo>
                    <a:lnTo>
                      <a:pt x="45725" y="64675"/>
                    </a:lnTo>
                    <a:lnTo>
                      <a:pt x="83750" y="108204"/>
                    </a:lnTo>
                    <a:lnTo>
                      <a:pt x="60079" y="108204"/>
                    </a:lnTo>
                    <a:lnTo>
                      <a:pt x="32987" y="75724"/>
                    </a:lnTo>
                    <a:lnTo>
                      <a:pt x="17587" y="89916"/>
                    </a:lnTo>
                    <a:lnTo>
                      <a:pt x="17587" y="108204"/>
                    </a:lnTo>
                    <a:lnTo>
                      <a:pt x="95" y="108204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6" name="Freeform 46">
                <a:extLst>
                  <a:ext uri="{FF2B5EF4-FFF2-40B4-BE49-F238E27FC236}">
                    <a16:creationId xmlns:a16="http://schemas.microsoft.com/office/drawing/2014/main" id="{B1E30072-F36C-2CA2-A168-43A1B51BFCD6}"/>
                  </a:ext>
                </a:extLst>
              </p:cNvPr>
              <p:cNvSpPr/>
              <p:nvPr/>
            </p:nvSpPr>
            <p:spPr>
              <a:xfrm>
                <a:off x="7484762" y="3904868"/>
                <a:ext cx="75194" cy="79533"/>
              </a:xfrm>
              <a:custGeom>
                <a:avLst/>
                <a:gdLst>
                  <a:gd name="connsiteX0" fmla="*/ 75099 w 75194"/>
                  <a:gd name="connsiteY0" fmla="*/ 43148 h 79533"/>
                  <a:gd name="connsiteX1" fmla="*/ 17491 w 75194"/>
                  <a:gd name="connsiteY1" fmla="*/ 43148 h 79533"/>
                  <a:gd name="connsiteX2" fmla="*/ 39736 w 75194"/>
                  <a:gd name="connsiteY2" fmla="*/ 65913 h 79533"/>
                  <a:gd name="connsiteX3" fmla="*/ 59414 w 75194"/>
                  <a:gd name="connsiteY3" fmla="*/ 51911 h 79533"/>
                  <a:gd name="connsiteX4" fmla="*/ 75194 w 75194"/>
                  <a:gd name="connsiteY4" fmla="*/ 51911 h 79533"/>
                  <a:gd name="connsiteX5" fmla="*/ 39546 w 75194"/>
                  <a:gd name="connsiteY5" fmla="*/ 79534 h 79533"/>
                  <a:gd name="connsiteX6" fmla="*/ 0 w 75194"/>
                  <a:gd name="connsiteY6" fmla="*/ 40386 h 79533"/>
                  <a:gd name="connsiteX7" fmla="*/ 39546 w 75194"/>
                  <a:gd name="connsiteY7" fmla="*/ 0 h 79533"/>
                  <a:gd name="connsiteX8" fmla="*/ 75194 w 75194"/>
                  <a:gd name="connsiteY8" fmla="*/ 36957 h 79533"/>
                  <a:gd name="connsiteX9" fmla="*/ 75194 w 75194"/>
                  <a:gd name="connsiteY9" fmla="*/ 43244 h 79533"/>
                  <a:gd name="connsiteX10" fmla="*/ 59319 w 75194"/>
                  <a:gd name="connsiteY10" fmla="*/ 31433 h 79533"/>
                  <a:gd name="connsiteX11" fmla="*/ 39546 w 75194"/>
                  <a:gd name="connsiteY11" fmla="*/ 13525 h 79533"/>
                  <a:gd name="connsiteX12" fmla="*/ 17872 w 75194"/>
                  <a:gd name="connsiteY12" fmla="*/ 32575 h 79533"/>
                  <a:gd name="connsiteX13" fmla="*/ 59319 w 75194"/>
                  <a:gd name="connsiteY13" fmla="*/ 32575 h 79533"/>
                  <a:gd name="connsiteX14" fmla="*/ 59319 w 75194"/>
                  <a:gd name="connsiteY14" fmla="*/ 31528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194" h="79533">
                    <a:moveTo>
                      <a:pt x="75099" y="43148"/>
                    </a:moveTo>
                    <a:lnTo>
                      <a:pt x="17491" y="43148"/>
                    </a:lnTo>
                    <a:cubicBezTo>
                      <a:pt x="18442" y="58007"/>
                      <a:pt x="26712" y="65913"/>
                      <a:pt x="39736" y="65913"/>
                    </a:cubicBezTo>
                    <a:cubicBezTo>
                      <a:pt x="50953" y="65913"/>
                      <a:pt x="58558" y="60960"/>
                      <a:pt x="59414" y="51911"/>
                    </a:cubicBezTo>
                    <a:lnTo>
                      <a:pt x="75194" y="51911"/>
                    </a:lnTo>
                    <a:cubicBezTo>
                      <a:pt x="74529" y="69056"/>
                      <a:pt x="60555" y="79534"/>
                      <a:pt x="39546" y="79534"/>
                    </a:cubicBezTo>
                    <a:cubicBezTo>
                      <a:pt x="15210" y="79534"/>
                      <a:pt x="0" y="64579"/>
                      <a:pt x="0" y="40386"/>
                    </a:cubicBezTo>
                    <a:cubicBezTo>
                      <a:pt x="0" y="16193"/>
                      <a:pt x="15305" y="0"/>
                      <a:pt x="39546" y="0"/>
                    </a:cubicBezTo>
                    <a:cubicBezTo>
                      <a:pt x="61315" y="0"/>
                      <a:pt x="75194" y="12954"/>
                      <a:pt x="75194" y="36957"/>
                    </a:cubicBezTo>
                    <a:lnTo>
                      <a:pt x="75194" y="43244"/>
                    </a:lnTo>
                    <a:close/>
                    <a:moveTo>
                      <a:pt x="59319" y="31433"/>
                    </a:moveTo>
                    <a:cubicBezTo>
                      <a:pt x="59319" y="19907"/>
                      <a:pt x="52189" y="13525"/>
                      <a:pt x="39546" y="13525"/>
                    </a:cubicBezTo>
                    <a:cubicBezTo>
                      <a:pt x="26903" y="13525"/>
                      <a:pt x="19963" y="19812"/>
                      <a:pt x="17872" y="32575"/>
                    </a:cubicBezTo>
                    <a:lnTo>
                      <a:pt x="59319" y="32575"/>
                    </a:lnTo>
                    <a:lnTo>
                      <a:pt x="59319" y="3152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7" name="Freeform 47">
                <a:extLst>
                  <a:ext uri="{FF2B5EF4-FFF2-40B4-BE49-F238E27FC236}">
                    <a16:creationId xmlns:a16="http://schemas.microsoft.com/office/drawing/2014/main" id="{ACC99569-9FCD-1358-8102-2F2C02DE4B28}"/>
                  </a:ext>
                </a:extLst>
              </p:cNvPr>
              <p:cNvSpPr/>
              <p:nvPr/>
            </p:nvSpPr>
            <p:spPr>
              <a:xfrm>
                <a:off x="7567751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1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8" name="Freeform 48">
                <a:extLst>
                  <a:ext uri="{FF2B5EF4-FFF2-40B4-BE49-F238E27FC236}">
                    <a16:creationId xmlns:a16="http://schemas.microsoft.com/office/drawing/2014/main" id="{F41BE927-9566-EFCA-3150-C1B848E20E3F}"/>
                  </a:ext>
                </a:extLst>
              </p:cNvPr>
              <p:cNvSpPr/>
              <p:nvPr/>
            </p:nvSpPr>
            <p:spPr>
              <a:xfrm>
                <a:off x="763334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3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2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0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3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353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/>
      <p:bldP spid="16" grpId="0" build="p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86676D4-BE0D-4409-AD90-B5A80D163F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550" y="0"/>
            <a:ext cx="10264614" cy="11313204"/>
          </a:xfrm>
          <a:custGeom>
            <a:avLst/>
            <a:gdLst>
              <a:gd name="connsiteX0" fmla="*/ 0 w 10264614"/>
              <a:gd name="connsiteY0" fmla="*/ 0 h 11313204"/>
              <a:gd name="connsiteX1" fmla="*/ 10264614 w 10264614"/>
              <a:gd name="connsiteY1" fmla="*/ 0 h 11313204"/>
              <a:gd name="connsiteX2" fmla="*/ 8773665 w 10264614"/>
              <a:gd name="connsiteY2" fmla="*/ 11313204 h 11313204"/>
              <a:gd name="connsiteX3" fmla="*/ 28673 w 10264614"/>
              <a:gd name="connsiteY3" fmla="*/ 11313204 h 11313204"/>
              <a:gd name="connsiteX4" fmla="*/ 0 w 10264614"/>
              <a:gd name="connsiteY4" fmla="*/ 0 h 11313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64614" h="11313204">
                <a:moveTo>
                  <a:pt x="0" y="0"/>
                </a:moveTo>
                <a:lnTo>
                  <a:pt x="10264614" y="0"/>
                </a:lnTo>
                <a:lnTo>
                  <a:pt x="8773665" y="11313204"/>
                </a:lnTo>
                <a:lnTo>
                  <a:pt x="28673" y="11313204"/>
                </a:lnTo>
                <a:cubicBezTo>
                  <a:pt x="23894" y="7532601"/>
                  <a:pt x="19116" y="37519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652250" y="3883025"/>
            <a:ext cx="754380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52250" y="23018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id="{61349B90-90A2-4E37-A9D1-43A4E221C2B1}"/>
              </a:ext>
            </a:extLst>
          </p:cNvPr>
          <p:cNvSpPr/>
          <p:nvPr userDrawn="1"/>
        </p:nvSpPr>
        <p:spPr>
          <a:xfrm>
            <a:off x="0" y="0"/>
            <a:ext cx="3398421" cy="2675293"/>
          </a:xfrm>
          <a:custGeom>
            <a:avLst/>
            <a:gdLst/>
            <a:ahLst/>
            <a:cxnLst/>
            <a:rect l="l" t="t" r="r" b="b"/>
            <a:pathLst>
              <a:path w="4649470" h="3660140">
                <a:moveTo>
                  <a:pt x="4013500" y="0"/>
                </a:moveTo>
                <a:lnTo>
                  <a:pt x="0" y="0"/>
                </a:lnTo>
                <a:lnTo>
                  <a:pt x="0" y="3660108"/>
                </a:lnTo>
                <a:lnTo>
                  <a:pt x="4649125" y="2457768"/>
                </a:lnTo>
                <a:lnTo>
                  <a:pt x="4013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object 13">
            <a:extLst>
              <a:ext uri="{FF2B5EF4-FFF2-40B4-BE49-F238E27FC236}">
                <a16:creationId xmlns:a16="http://schemas.microsoft.com/office/drawing/2014/main" id="{0362DB3C-899A-47B6-83F3-AD7EB7C775A5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20760" y="15078"/>
            <a:ext cx="3096031" cy="11308558"/>
          </a:xfrm>
          <a:prstGeom prst="rect">
            <a:avLst/>
          </a:prstGeom>
        </p:spPr>
      </p:pic>
      <p:pic>
        <p:nvPicPr>
          <p:cNvPr id="2" name="Picture 1" descr="Icon&#10;&#10;Description automatically generated">
            <a:extLst>
              <a:ext uri="{FF2B5EF4-FFF2-40B4-BE49-F238E27FC236}">
                <a16:creationId xmlns:a16="http://schemas.microsoft.com/office/drawing/2014/main" id="{98B89D03-3904-43D0-59F0-0CC9D1FAF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409" y="755940"/>
            <a:ext cx="2391223" cy="94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86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in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2461144-37F7-1B8E-8C8F-A142D7874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Regular 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44A63-D478-63A3-32FA-965832495F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6356" y="3023682"/>
            <a:ext cx="8431680" cy="654999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5A256AF-D608-21F3-EDE3-B2B7738BFC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86877" y="3023682"/>
            <a:ext cx="8431680" cy="6549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A46896B8-2F78-CBAA-4C2C-358B3DF25E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accent2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05342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pp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2">
            <a:extLst>
              <a:ext uri="{FF2B5EF4-FFF2-40B4-BE49-F238E27FC236}">
                <a16:creationId xmlns:a16="http://schemas.microsoft.com/office/drawing/2014/main" id="{240D5921-FD2C-1B1F-1965-9B2EA10E80F6}"/>
              </a:ext>
            </a:extLst>
          </p:cNvPr>
          <p:cNvSpPr/>
          <p:nvPr userDrawn="1"/>
        </p:nvSpPr>
        <p:spPr>
          <a:xfrm>
            <a:off x="-5814479" y="-708382"/>
            <a:ext cx="12990187" cy="13018884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47DA8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4C7A87B-E30C-524E-29BB-1119FF170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70931" y="2146327"/>
            <a:ext cx="10646814" cy="2955340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70930" y="5501999"/>
            <a:ext cx="10646816" cy="4071683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BA512E-95CE-E3D0-1165-112A0F3F6C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97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pp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4C7A87B-E30C-524E-29BB-1119FF170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2146327"/>
            <a:ext cx="10646814" cy="2955340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5" y="5501999"/>
            <a:ext cx="10646813" cy="4071683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3" name="Graphic 2">
            <a:extLst>
              <a:ext uri="{FF2B5EF4-FFF2-40B4-BE49-F238E27FC236}">
                <a16:creationId xmlns:a16="http://schemas.microsoft.com/office/drawing/2014/main" id="{B25CF752-074D-9B3E-B631-8489DEFC32EC}"/>
              </a:ext>
            </a:extLst>
          </p:cNvPr>
          <p:cNvSpPr/>
          <p:nvPr userDrawn="1"/>
        </p:nvSpPr>
        <p:spPr>
          <a:xfrm>
            <a:off x="12522651" y="-708382"/>
            <a:ext cx="12990187" cy="13018884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47DA8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648C54-60DB-26A4-D087-869DAC88F7B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43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0A4BC4EF-459A-7845-F619-515A9AFC49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6066" y="4720753"/>
            <a:ext cx="8431683" cy="4852928"/>
          </a:xfrm>
        </p:spPr>
        <p:txBody>
          <a:bodyPr>
            <a:noAutofit/>
          </a:bodyPr>
          <a:lstStyle>
            <a:lvl1pPr marL="0" indent="0">
              <a:buNone/>
              <a:defRPr sz="23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B2E71AF-560B-8492-C46B-152A4A3B96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6948" y="905796"/>
            <a:ext cx="8427354" cy="3497510"/>
          </a:xfrm>
        </p:spPr>
        <p:txBody>
          <a:bodyPr anchor="b" anchorCtr="0">
            <a:noAutofit/>
          </a:bodyPr>
          <a:lstStyle>
            <a:lvl1pPr marL="0" indent="0">
              <a:buNone/>
              <a:defRPr sz="6596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036C2-4F5F-9FD4-809E-3237384E85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2B051417-E233-CE79-D9EA-45CDB44E25B2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3959225" y="0"/>
            <a:ext cx="4797892" cy="11309350"/>
          </a:xfrm>
          <a:custGeom>
            <a:avLst/>
            <a:gdLst>
              <a:gd name="connsiteX0" fmla="*/ 2509447 w 2909650"/>
              <a:gd name="connsiteY0" fmla="*/ 180594 h 6858000"/>
              <a:gd name="connsiteX1" fmla="*/ 2909651 w 2909650"/>
              <a:gd name="connsiteY1" fmla="*/ 0 h 6858000"/>
              <a:gd name="connsiteX2" fmla="*/ 2223334 w 2909650"/>
              <a:gd name="connsiteY2" fmla="*/ 0 h 6858000"/>
              <a:gd name="connsiteX3" fmla="*/ 1937474 w 2909650"/>
              <a:gd name="connsiteY3" fmla="*/ 154750 h 6858000"/>
              <a:gd name="connsiteX4" fmla="*/ 41345 w 2909650"/>
              <a:gd name="connsiteY4" fmla="*/ 3013901 h 6858000"/>
              <a:gd name="connsiteX5" fmla="*/ 1692288 w 2909650"/>
              <a:gd name="connsiteY5" fmla="*/ 6858000 h 6858000"/>
              <a:gd name="connsiteX6" fmla="*/ 2048645 w 2909650"/>
              <a:gd name="connsiteY6" fmla="*/ 6858000 h 6858000"/>
              <a:gd name="connsiteX7" fmla="*/ 722205 w 2909650"/>
              <a:gd name="connsiteY7" fmla="*/ 5293106 h 6858000"/>
              <a:gd name="connsiteX8" fmla="*/ 639779 w 2909650"/>
              <a:gd name="connsiteY8" fmla="*/ 2390775 h 6858000"/>
              <a:gd name="connsiteX9" fmla="*/ 2509447 w 2909650"/>
              <a:gd name="connsiteY9" fmla="*/ 1805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09650" h="6858000">
                <a:moveTo>
                  <a:pt x="2509447" y="180594"/>
                </a:moveTo>
                <a:cubicBezTo>
                  <a:pt x="2640226" y="111760"/>
                  <a:pt x="2773796" y="51562"/>
                  <a:pt x="2909651" y="0"/>
                </a:cubicBezTo>
                <a:lnTo>
                  <a:pt x="2223334" y="0"/>
                </a:lnTo>
                <a:cubicBezTo>
                  <a:pt x="2126567" y="47498"/>
                  <a:pt x="2031195" y="99124"/>
                  <a:pt x="1937474" y="154750"/>
                </a:cubicBezTo>
                <a:cubicBezTo>
                  <a:pt x="904635" y="768668"/>
                  <a:pt x="213495" y="1810830"/>
                  <a:pt x="41345" y="3013901"/>
                </a:cubicBezTo>
                <a:cubicBezTo>
                  <a:pt x="-179475" y="4511612"/>
                  <a:pt x="500497" y="6005132"/>
                  <a:pt x="1692288" y="6858000"/>
                </a:cubicBezTo>
                <a:lnTo>
                  <a:pt x="2048645" y="6858000"/>
                </a:lnTo>
                <a:cubicBezTo>
                  <a:pt x="1465694" y="6480620"/>
                  <a:pt x="1007050" y="5943664"/>
                  <a:pt x="722205" y="5293106"/>
                </a:cubicBezTo>
                <a:cubicBezTo>
                  <a:pt x="328220" y="4393375"/>
                  <a:pt x="298968" y="3362643"/>
                  <a:pt x="639779" y="2390775"/>
                </a:cubicBezTo>
                <a:cubicBezTo>
                  <a:pt x="979764" y="1420940"/>
                  <a:pt x="1643175" y="635699"/>
                  <a:pt x="2509447" y="180594"/>
                </a:cubicBezTo>
                <a:close/>
              </a:path>
            </a:pathLst>
          </a:custGeom>
          <a:solidFill>
            <a:srgbClr val="47D985"/>
          </a:solidFill>
          <a:ln w="63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CDC14F0B-4FA1-90DE-9073-AAC23D6650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1"/>
            <a:ext cx="9367930" cy="11313771"/>
          </a:xfrm>
          <a:custGeom>
            <a:avLst/>
            <a:gdLst>
              <a:gd name="connsiteX0" fmla="*/ 2401045 w 5681120"/>
              <a:gd name="connsiteY0" fmla="*/ 1 h 6860681"/>
              <a:gd name="connsiteX1" fmla="*/ 2801249 w 5681120"/>
              <a:gd name="connsiteY1" fmla="*/ 180595 h 6860681"/>
              <a:gd name="connsiteX2" fmla="*/ 4670917 w 5681120"/>
              <a:gd name="connsiteY2" fmla="*/ 2390776 h 6860681"/>
              <a:gd name="connsiteX3" fmla="*/ 4588491 w 5681120"/>
              <a:gd name="connsiteY3" fmla="*/ 5293107 h 6860681"/>
              <a:gd name="connsiteX4" fmla="*/ 3262051 w 5681120"/>
              <a:gd name="connsiteY4" fmla="*/ 6858001 h 6860681"/>
              <a:gd name="connsiteX5" fmla="*/ 3618408 w 5681120"/>
              <a:gd name="connsiteY5" fmla="*/ 6858001 h 6860681"/>
              <a:gd name="connsiteX6" fmla="*/ 5269351 w 5681120"/>
              <a:gd name="connsiteY6" fmla="*/ 3013902 h 6860681"/>
              <a:gd name="connsiteX7" fmla="*/ 3373222 w 5681120"/>
              <a:gd name="connsiteY7" fmla="*/ 154751 h 6860681"/>
              <a:gd name="connsiteX8" fmla="*/ 3087362 w 5681120"/>
              <a:gd name="connsiteY8" fmla="*/ 1 h 6860681"/>
              <a:gd name="connsiteX9" fmla="*/ 0 w 5681120"/>
              <a:gd name="connsiteY9" fmla="*/ 0 h 6860681"/>
              <a:gd name="connsiteX10" fmla="*/ 3888685 w 5681120"/>
              <a:gd name="connsiteY10" fmla="*/ 0 h 6860681"/>
              <a:gd name="connsiteX11" fmla="*/ 5437733 w 5681120"/>
              <a:gd name="connsiteY11" fmla="*/ 5161393 h 6860681"/>
              <a:gd name="connsiteX12" fmla="*/ 4096079 w 5681120"/>
              <a:gd name="connsiteY12" fmla="*/ 6860681 h 6860681"/>
              <a:gd name="connsiteX13" fmla="*/ 0 w 5681120"/>
              <a:gd name="connsiteY13" fmla="*/ 6860681 h 6860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1120" h="6860681">
                <a:moveTo>
                  <a:pt x="2401045" y="1"/>
                </a:moveTo>
                <a:cubicBezTo>
                  <a:pt x="2536900" y="51563"/>
                  <a:pt x="2670470" y="111761"/>
                  <a:pt x="2801249" y="180595"/>
                </a:cubicBezTo>
                <a:cubicBezTo>
                  <a:pt x="3667521" y="635700"/>
                  <a:pt x="4330932" y="1420941"/>
                  <a:pt x="4670917" y="2390776"/>
                </a:cubicBezTo>
                <a:cubicBezTo>
                  <a:pt x="5011728" y="3362644"/>
                  <a:pt x="4982476" y="4393376"/>
                  <a:pt x="4588491" y="5293107"/>
                </a:cubicBezTo>
                <a:cubicBezTo>
                  <a:pt x="4303646" y="5943665"/>
                  <a:pt x="3845002" y="6480621"/>
                  <a:pt x="3262051" y="6858001"/>
                </a:cubicBezTo>
                <a:lnTo>
                  <a:pt x="3618408" y="6858001"/>
                </a:lnTo>
                <a:cubicBezTo>
                  <a:pt x="4810199" y="6005133"/>
                  <a:pt x="5490171" y="4511613"/>
                  <a:pt x="5269351" y="3013902"/>
                </a:cubicBezTo>
                <a:cubicBezTo>
                  <a:pt x="5097201" y="1810831"/>
                  <a:pt x="4406061" y="768669"/>
                  <a:pt x="3373222" y="154751"/>
                </a:cubicBezTo>
                <a:cubicBezTo>
                  <a:pt x="3279501" y="99125"/>
                  <a:pt x="3184129" y="47499"/>
                  <a:pt x="3087362" y="1"/>
                </a:cubicBezTo>
                <a:close/>
                <a:moveTo>
                  <a:pt x="0" y="0"/>
                </a:moveTo>
                <a:lnTo>
                  <a:pt x="3888685" y="0"/>
                </a:lnTo>
                <a:cubicBezTo>
                  <a:pt x="5541875" y="1030183"/>
                  <a:pt x="6033690" y="3349918"/>
                  <a:pt x="5437733" y="5161393"/>
                </a:cubicBezTo>
                <a:cubicBezTo>
                  <a:pt x="5188744" y="5932457"/>
                  <a:pt x="4704167" y="6494906"/>
                  <a:pt x="4096079" y="6860681"/>
                </a:cubicBezTo>
                <a:cubicBezTo>
                  <a:pt x="4096079" y="6860681"/>
                  <a:pt x="0" y="6860681"/>
                  <a:pt x="0" y="686068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1507846" rtl="0" eaLnBrk="1" fontAlgn="auto" latinLnBrk="0" hangingPunct="1">
              <a:lnSpc>
                <a:spcPct val="100000"/>
              </a:lnSpc>
              <a:spcBef>
                <a:spcPts val="1649"/>
              </a:spcBef>
              <a:spcAft>
                <a:spcPts val="1649"/>
              </a:spcAft>
              <a:buClr>
                <a:srgbClr val="47DA86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8621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5796"/>
            <a:ext cx="8431680" cy="3531019"/>
          </a:xfrm>
        </p:spPr>
        <p:txBody>
          <a:bodyPr anchor="b" anchorCtr="0">
            <a:noAutofit/>
          </a:bodyPr>
          <a:lstStyle>
            <a:lvl1pPr marL="0" indent="0">
              <a:buNone/>
              <a:defRPr sz="6596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4754262"/>
            <a:ext cx="8431680" cy="4819419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E17556F4-8ED1-9969-CD3F-1525217E1E0A}"/>
              </a:ext>
            </a:extLst>
          </p:cNvPr>
          <p:cNvSpPr>
            <a:spLocks noChangeAspect="1"/>
          </p:cNvSpPr>
          <p:nvPr/>
        </p:nvSpPr>
        <p:spPr>
          <a:xfrm>
            <a:off x="10273003" y="0"/>
            <a:ext cx="3177452" cy="10651432"/>
          </a:xfrm>
          <a:custGeom>
            <a:avLst/>
            <a:gdLst>
              <a:gd name="connsiteX0" fmla="*/ 1215570 w 1926945"/>
              <a:gd name="connsiteY0" fmla="*/ 0 h 6459038"/>
              <a:gd name="connsiteX1" fmla="*/ 396914 w 1926945"/>
              <a:gd name="connsiteY1" fmla="*/ 5502156 h 6459038"/>
              <a:gd name="connsiteX2" fmla="*/ 420148 w 1926945"/>
              <a:gd name="connsiteY2" fmla="*/ 5558753 h 6459038"/>
              <a:gd name="connsiteX3" fmla="*/ 432155 w 1926945"/>
              <a:gd name="connsiteY3" fmla="*/ 5587377 h 6459038"/>
              <a:gd name="connsiteX4" fmla="*/ 440203 w 1926945"/>
              <a:gd name="connsiteY4" fmla="*/ 5596875 h 6459038"/>
              <a:gd name="connsiteX5" fmla="*/ 492837 w 1926945"/>
              <a:gd name="connsiteY5" fmla="*/ 5633436 h 6459038"/>
              <a:gd name="connsiteX6" fmla="*/ 525742 w 1926945"/>
              <a:gd name="connsiteY6" fmla="*/ 5640331 h 6459038"/>
              <a:gd name="connsiteX7" fmla="*/ 610242 w 1926945"/>
              <a:gd name="connsiteY7" fmla="*/ 5611577 h 6459038"/>
              <a:gd name="connsiteX8" fmla="*/ 639318 w 1926945"/>
              <a:gd name="connsiteY8" fmla="*/ 5481404 h 6459038"/>
              <a:gd name="connsiteX9" fmla="*/ 767042 w 1926945"/>
              <a:gd name="connsiteY9" fmla="*/ 1582249 h 6459038"/>
              <a:gd name="connsiteX10" fmla="*/ 1926945 w 1926945"/>
              <a:gd name="connsiteY10" fmla="*/ 0 h 6459038"/>
              <a:gd name="connsiteX11" fmla="*/ 1215570 w 1926945"/>
              <a:gd name="connsiteY11" fmla="*/ 0 h 6459038"/>
              <a:gd name="connsiteX12" fmla="*/ 1095504 w 1926945"/>
              <a:gd name="connsiteY12" fmla="*/ 6179501 h 6459038"/>
              <a:gd name="connsiteX13" fmla="*/ 732969 w 1926945"/>
              <a:gd name="connsiteY13" fmla="*/ 5966123 h 6459038"/>
              <a:gd name="connsiteX14" fmla="*/ 789433 w 1926945"/>
              <a:gd name="connsiteY14" fmla="*/ 6327759 h 6459038"/>
              <a:gd name="connsiteX15" fmla="*/ 1082524 w 1926945"/>
              <a:gd name="connsiteY15" fmla="*/ 6428073 h 6459038"/>
              <a:gd name="connsiteX16" fmla="*/ 1095504 w 1926945"/>
              <a:gd name="connsiteY16" fmla="*/ 6179501 h 645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6945" h="6459038">
                <a:moveTo>
                  <a:pt x="1215570" y="0"/>
                </a:moveTo>
                <a:cubicBezTo>
                  <a:pt x="2189" y="1519862"/>
                  <a:pt x="-364305" y="3650388"/>
                  <a:pt x="396914" y="5502156"/>
                </a:cubicBezTo>
                <a:cubicBezTo>
                  <a:pt x="404443" y="5521087"/>
                  <a:pt x="412295" y="5539888"/>
                  <a:pt x="420148" y="5558753"/>
                </a:cubicBezTo>
                <a:lnTo>
                  <a:pt x="432155" y="5587377"/>
                </a:lnTo>
                <a:lnTo>
                  <a:pt x="440203" y="5596875"/>
                </a:lnTo>
                <a:cubicBezTo>
                  <a:pt x="454351" y="5613594"/>
                  <a:pt x="472653" y="5626150"/>
                  <a:pt x="492837" y="5633436"/>
                </a:cubicBezTo>
                <a:cubicBezTo>
                  <a:pt x="503351" y="5637274"/>
                  <a:pt x="514449" y="5639615"/>
                  <a:pt x="525742" y="5640331"/>
                </a:cubicBezTo>
                <a:cubicBezTo>
                  <a:pt x="556959" y="5642413"/>
                  <a:pt x="587722" y="5631939"/>
                  <a:pt x="610242" y="5611577"/>
                </a:cubicBezTo>
                <a:cubicBezTo>
                  <a:pt x="645029" y="5579961"/>
                  <a:pt x="656711" y="5529674"/>
                  <a:pt x="639318" y="5481404"/>
                </a:cubicBezTo>
                <a:cubicBezTo>
                  <a:pt x="139194" y="4198730"/>
                  <a:pt x="184559" y="2814051"/>
                  <a:pt x="767042" y="1582249"/>
                </a:cubicBezTo>
                <a:cubicBezTo>
                  <a:pt x="1049489" y="985051"/>
                  <a:pt x="1443695" y="450566"/>
                  <a:pt x="1926945" y="0"/>
                </a:cubicBezTo>
                <a:lnTo>
                  <a:pt x="1215570" y="0"/>
                </a:lnTo>
                <a:close/>
                <a:moveTo>
                  <a:pt x="1095504" y="6179501"/>
                </a:moveTo>
                <a:cubicBezTo>
                  <a:pt x="1037093" y="6109372"/>
                  <a:pt x="782878" y="5942443"/>
                  <a:pt x="732969" y="5966123"/>
                </a:cubicBezTo>
                <a:cubicBezTo>
                  <a:pt x="682996" y="5989737"/>
                  <a:pt x="723688" y="6212483"/>
                  <a:pt x="789433" y="6327759"/>
                </a:cubicBezTo>
                <a:cubicBezTo>
                  <a:pt x="834733" y="6407125"/>
                  <a:pt x="984199" y="6512058"/>
                  <a:pt x="1082524" y="6428073"/>
                </a:cubicBezTo>
                <a:cubicBezTo>
                  <a:pt x="1180848" y="6344153"/>
                  <a:pt x="1153914" y="6249694"/>
                  <a:pt x="1095504" y="6179501"/>
                </a:cubicBezTo>
                <a:close/>
              </a:path>
            </a:pathLst>
          </a:custGeom>
          <a:solidFill>
            <a:srgbClr val="47D985"/>
          </a:solidFill>
          <a:ln w="6478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9BF31C-960F-6DEC-C64D-220E460F17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73EB7C3-0588-B099-ABAE-5F2DE47F63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1333663" y="0"/>
            <a:ext cx="8770438" cy="11313773"/>
          </a:xfrm>
          <a:custGeom>
            <a:avLst/>
            <a:gdLst>
              <a:gd name="connsiteX0" fmla="*/ 1792436 w 5318775"/>
              <a:gd name="connsiteY0" fmla="*/ 0 h 6860682"/>
              <a:gd name="connsiteX1" fmla="*/ 5318775 w 5318775"/>
              <a:gd name="connsiteY1" fmla="*/ 0 h 6860682"/>
              <a:gd name="connsiteX2" fmla="*/ 5318775 w 5318775"/>
              <a:gd name="connsiteY2" fmla="*/ 6860682 h 6860682"/>
              <a:gd name="connsiteX3" fmla="*/ 1585041 w 5318775"/>
              <a:gd name="connsiteY3" fmla="*/ 6860682 h 6860682"/>
              <a:gd name="connsiteX4" fmla="*/ 243389 w 5318775"/>
              <a:gd name="connsiteY4" fmla="*/ 5161393 h 6860682"/>
              <a:gd name="connsiteX5" fmla="*/ 1792436 w 5318775"/>
              <a:gd name="connsiteY5" fmla="*/ 0 h 686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75" h="6860682">
                <a:moveTo>
                  <a:pt x="1792436" y="0"/>
                </a:moveTo>
                <a:lnTo>
                  <a:pt x="5318775" y="0"/>
                </a:lnTo>
                <a:lnTo>
                  <a:pt x="5318775" y="6860682"/>
                </a:lnTo>
                <a:lnTo>
                  <a:pt x="1585041" y="6860682"/>
                </a:lnTo>
                <a:cubicBezTo>
                  <a:pt x="976954" y="6494907"/>
                  <a:pt x="492377" y="5932458"/>
                  <a:pt x="243389" y="5161393"/>
                </a:cubicBezTo>
                <a:cubicBezTo>
                  <a:pt x="-352570" y="3349919"/>
                  <a:pt x="139246" y="1030182"/>
                  <a:pt x="1792436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250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asic, Larg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CDC415B-B0B1-B0CE-EF86-346D3A4E6A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905796"/>
            <a:ext cx="9499710" cy="360892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C4ACA5-144B-43D4-2B92-D3B3ED7632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86352" y="5022572"/>
            <a:ext cx="8431681" cy="455110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7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eb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5796"/>
            <a:ext cx="8431680" cy="3514264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6596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4737508"/>
            <a:ext cx="8431680" cy="4836174"/>
          </a:xfrm>
        </p:spPr>
        <p:txBody>
          <a:bodyPr>
            <a:noAutofit/>
          </a:bodyPr>
          <a:lstStyle>
            <a:lvl1pPr marL="0" indent="0">
              <a:buNone/>
              <a:defRPr sz="23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6D049BA-8763-7863-E7E0-8A31A943875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575688" y="1220879"/>
            <a:ext cx="8458757" cy="7955829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395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423C60-DB16-109A-762A-D048767B5E0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29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1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6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37CBB0-B119-C056-ACE1-050494F161B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8052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C0119C8-1D9A-0DFA-77E1-D96E4EC708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0882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D2914D5C-66D1-2DD5-239D-D767E5AD9F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58160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EAB911-B33D-DF2F-9631-A9EE94552AD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955330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0FA60A-84B6-E342-F780-1771576770F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283526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4CDAB5D0-7F86-EA91-AB9B-1A439E9373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20882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2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7FC37118-FC7D-57FD-16B1-A498B8326C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58160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18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bbles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65">
            <a:extLst>
              <a:ext uri="{FF2B5EF4-FFF2-40B4-BE49-F238E27FC236}">
                <a16:creationId xmlns:a16="http://schemas.microsoft.com/office/drawing/2014/main" id="{9837690D-0E7C-A9A8-61D2-D0E7E326062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732944" y="5970644"/>
            <a:ext cx="1902992" cy="1920426"/>
          </a:xfrm>
          <a:custGeom>
            <a:avLst/>
            <a:gdLst>
              <a:gd name="connsiteX0" fmla="*/ 620546 w 1154057"/>
              <a:gd name="connsiteY0" fmla="*/ 1074 h 1164548"/>
              <a:gd name="connsiteX1" fmla="*/ 740037 w 1154057"/>
              <a:gd name="connsiteY1" fmla="*/ 30926 h 1164548"/>
              <a:gd name="connsiteX2" fmla="*/ 1149079 w 1154057"/>
              <a:gd name="connsiteY2" fmla="*/ 544452 h 1164548"/>
              <a:gd name="connsiteX3" fmla="*/ 1006132 w 1154057"/>
              <a:gd name="connsiteY3" fmla="*/ 957097 h 1164548"/>
              <a:gd name="connsiteX4" fmla="*/ 883647 w 1154057"/>
              <a:gd name="connsiteY4" fmla="*/ 1053039 h 1164548"/>
              <a:gd name="connsiteX5" fmla="*/ 162661 w 1154057"/>
              <a:gd name="connsiteY5" fmla="*/ 1067667 h 1164548"/>
              <a:gd name="connsiteX6" fmla="*/ 579 w 1154057"/>
              <a:gd name="connsiteY6" fmla="*/ 741180 h 1164548"/>
              <a:gd name="connsiteX7" fmla="*/ 256727 w 1154057"/>
              <a:gd name="connsiteY7" fmla="*/ 146531 h 1164548"/>
              <a:gd name="connsiteX8" fmla="*/ 620546 w 1154057"/>
              <a:gd name="connsiteY8" fmla="*/ 1074 h 1164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4057" h="1164548">
                <a:moveTo>
                  <a:pt x="620546" y="1074"/>
                </a:moveTo>
                <a:cubicBezTo>
                  <a:pt x="661868" y="4174"/>
                  <a:pt x="702145" y="14018"/>
                  <a:pt x="740037" y="30926"/>
                </a:cubicBezTo>
                <a:cubicBezTo>
                  <a:pt x="949389" y="123543"/>
                  <a:pt x="1117629" y="334710"/>
                  <a:pt x="1149079" y="544452"/>
                </a:cubicBezTo>
                <a:cubicBezTo>
                  <a:pt x="1171057" y="698529"/>
                  <a:pt x="1119713" y="843201"/>
                  <a:pt x="1006132" y="957097"/>
                </a:cubicBezTo>
                <a:cubicBezTo>
                  <a:pt x="971083" y="992244"/>
                  <a:pt x="930159" y="1024446"/>
                  <a:pt x="883647" y="1053039"/>
                </a:cubicBezTo>
                <a:cubicBezTo>
                  <a:pt x="651181" y="1196096"/>
                  <a:pt x="354772" y="1202081"/>
                  <a:pt x="162661" y="1067667"/>
                </a:cubicBezTo>
                <a:cubicBezTo>
                  <a:pt x="62721" y="988634"/>
                  <a:pt x="6736" y="875689"/>
                  <a:pt x="579" y="741180"/>
                </a:cubicBezTo>
                <a:cubicBezTo>
                  <a:pt x="-8705" y="539607"/>
                  <a:pt x="94456" y="299943"/>
                  <a:pt x="256727" y="146531"/>
                </a:cubicBezTo>
                <a:cubicBezTo>
                  <a:pt x="363227" y="43156"/>
                  <a:pt x="496583" y="-8228"/>
                  <a:pt x="620546" y="1074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" name="Picture Placeholder 66">
            <a:extLst>
              <a:ext uri="{FF2B5EF4-FFF2-40B4-BE49-F238E27FC236}">
                <a16:creationId xmlns:a16="http://schemas.microsoft.com/office/drawing/2014/main" id="{901EA444-14DF-630E-978D-84C0117E66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879041" y="5950433"/>
            <a:ext cx="1826853" cy="1960848"/>
          </a:xfrm>
          <a:custGeom>
            <a:avLst/>
            <a:gdLst>
              <a:gd name="connsiteX0" fmla="*/ 518352 w 1107883"/>
              <a:gd name="connsiteY0" fmla="*/ 3 h 1189060"/>
              <a:gd name="connsiteX1" fmla="*/ 916906 w 1107883"/>
              <a:gd name="connsiteY1" fmla="*/ 119284 h 1189060"/>
              <a:gd name="connsiteX2" fmla="*/ 1107883 w 1107883"/>
              <a:gd name="connsiteY2" fmla="*/ 511437 h 1189060"/>
              <a:gd name="connsiteX3" fmla="*/ 1088833 w 1107883"/>
              <a:gd name="connsiteY3" fmla="*/ 665779 h 1189060"/>
              <a:gd name="connsiteX4" fmla="*/ 586579 w 1107883"/>
              <a:gd name="connsiteY4" fmla="*/ 1186029 h 1189060"/>
              <a:gd name="connsiteX5" fmla="*/ 239869 w 1107883"/>
              <a:gd name="connsiteY5" fmla="*/ 1070344 h 1189060"/>
              <a:gd name="connsiteX6" fmla="*/ 316 w 1107883"/>
              <a:gd name="connsiteY6" fmla="*/ 469749 h 1189060"/>
              <a:gd name="connsiteX7" fmla="*/ 261967 w 1107883"/>
              <a:gd name="connsiteY7" fmla="*/ 46424 h 1189060"/>
              <a:gd name="connsiteX8" fmla="*/ 518352 w 1107883"/>
              <a:gd name="connsiteY8" fmla="*/ 3 h 118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7883" h="1189060">
                <a:moveTo>
                  <a:pt x="518352" y="3"/>
                </a:moveTo>
                <a:cubicBezTo>
                  <a:pt x="664673" y="-378"/>
                  <a:pt x="809989" y="40763"/>
                  <a:pt x="916906" y="119284"/>
                </a:cubicBezTo>
                <a:cubicBezTo>
                  <a:pt x="1041779" y="212419"/>
                  <a:pt x="1107883" y="350748"/>
                  <a:pt x="1107883" y="511437"/>
                </a:cubicBezTo>
                <a:cubicBezTo>
                  <a:pt x="1107883" y="560990"/>
                  <a:pt x="1101596" y="612626"/>
                  <a:pt x="1088833" y="665779"/>
                </a:cubicBezTo>
                <a:cubicBezTo>
                  <a:pt x="1025015" y="931068"/>
                  <a:pt x="818513" y="1144909"/>
                  <a:pt x="586579" y="1186029"/>
                </a:cubicBezTo>
                <a:cubicBezTo>
                  <a:pt x="459516" y="1200904"/>
                  <a:pt x="339596" y="1160827"/>
                  <a:pt x="239869" y="1070344"/>
                </a:cubicBezTo>
                <a:cubicBezTo>
                  <a:pt x="90327" y="934668"/>
                  <a:pt x="-6257" y="692781"/>
                  <a:pt x="316" y="469749"/>
                </a:cubicBezTo>
                <a:cubicBezTo>
                  <a:pt x="3554" y="272109"/>
                  <a:pt x="106234" y="105924"/>
                  <a:pt x="261967" y="46424"/>
                </a:cubicBezTo>
                <a:cubicBezTo>
                  <a:pt x="342406" y="15407"/>
                  <a:pt x="430560" y="231"/>
                  <a:pt x="518352" y="3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" name="Picture Placeholder 67">
            <a:extLst>
              <a:ext uri="{FF2B5EF4-FFF2-40B4-BE49-F238E27FC236}">
                <a16:creationId xmlns:a16="http://schemas.microsoft.com/office/drawing/2014/main" id="{0E68EB39-C372-168A-A3CC-8F3CF1317A8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867921" y="3390357"/>
            <a:ext cx="1920141" cy="1903125"/>
          </a:xfrm>
          <a:custGeom>
            <a:avLst/>
            <a:gdLst>
              <a:gd name="connsiteX0" fmla="*/ 657822 w 1164457"/>
              <a:gd name="connsiteY0" fmla="*/ 2070 h 1154057"/>
              <a:gd name="connsiteX1" fmla="*/ 957005 w 1164457"/>
              <a:gd name="connsiteY1" fmla="*/ 147925 h 1154057"/>
              <a:gd name="connsiteX2" fmla="*/ 1052947 w 1164457"/>
              <a:gd name="connsiteY2" fmla="*/ 270411 h 1154057"/>
              <a:gd name="connsiteX3" fmla="*/ 1067576 w 1164457"/>
              <a:gd name="connsiteY3" fmla="*/ 991397 h 1154057"/>
              <a:gd name="connsiteX4" fmla="*/ 741089 w 1164457"/>
              <a:gd name="connsiteY4" fmla="*/ 1153384 h 1154057"/>
              <a:gd name="connsiteX5" fmla="*/ 741184 w 1164457"/>
              <a:gd name="connsiteY5" fmla="*/ 1153479 h 1154057"/>
              <a:gd name="connsiteX6" fmla="*/ 146440 w 1164457"/>
              <a:gd name="connsiteY6" fmla="*/ 897331 h 1154057"/>
              <a:gd name="connsiteX7" fmla="*/ 30930 w 1164457"/>
              <a:gd name="connsiteY7" fmla="*/ 414021 h 1154057"/>
              <a:gd name="connsiteX8" fmla="*/ 544361 w 1164457"/>
              <a:gd name="connsiteY8" fmla="*/ 4979 h 1154057"/>
              <a:gd name="connsiteX9" fmla="*/ 657822 w 1164457"/>
              <a:gd name="connsiteY9" fmla="*/ 2070 h 115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64457" h="1154057">
                <a:moveTo>
                  <a:pt x="657822" y="2070"/>
                </a:moveTo>
                <a:cubicBezTo>
                  <a:pt x="768851" y="12563"/>
                  <a:pt x="871584" y="62740"/>
                  <a:pt x="957005" y="147925"/>
                </a:cubicBezTo>
                <a:cubicBezTo>
                  <a:pt x="992152" y="182975"/>
                  <a:pt x="1024355" y="223898"/>
                  <a:pt x="1052947" y="270411"/>
                </a:cubicBezTo>
                <a:cubicBezTo>
                  <a:pt x="1196005" y="502877"/>
                  <a:pt x="1201990" y="799286"/>
                  <a:pt x="1067576" y="991397"/>
                </a:cubicBezTo>
                <a:cubicBezTo>
                  <a:pt x="988543" y="1091242"/>
                  <a:pt x="875502" y="1147227"/>
                  <a:pt x="741089" y="1153384"/>
                </a:cubicBezTo>
                <a:lnTo>
                  <a:pt x="741184" y="1153479"/>
                </a:lnTo>
                <a:cubicBezTo>
                  <a:pt x="539516" y="1162763"/>
                  <a:pt x="299947" y="1059602"/>
                  <a:pt x="146440" y="897331"/>
                </a:cubicBezTo>
                <a:cubicBezTo>
                  <a:pt x="8702" y="755331"/>
                  <a:pt x="-36705" y="565588"/>
                  <a:pt x="30930" y="414021"/>
                </a:cubicBezTo>
                <a:cubicBezTo>
                  <a:pt x="123547" y="204668"/>
                  <a:pt x="334714" y="36429"/>
                  <a:pt x="544361" y="4979"/>
                </a:cubicBezTo>
                <a:cubicBezTo>
                  <a:pt x="582880" y="-515"/>
                  <a:pt x="620812" y="-1427"/>
                  <a:pt x="657822" y="207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Picture Placeholder 68">
            <a:extLst>
              <a:ext uri="{FF2B5EF4-FFF2-40B4-BE49-F238E27FC236}">
                <a16:creationId xmlns:a16="http://schemas.microsoft.com/office/drawing/2014/main" id="{CC390C26-22D6-1A6E-8B73-EB0A727B0C7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4949000" y="6017368"/>
            <a:ext cx="1960712" cy="1826981"/>
          </a:xfrm>
          <a:custGeom>
            <a:avLst/>
            <a:gdLst>
              <a:gd name="connsiteX0" fmla="*/ 719312 w 1189061"/>
              <a:gd name="connsiteY0" fmla="*/ 316 h 1107883"/>
              <a:gd name="connsiteX1" fmla="*/ 1142638 w 1189061"/>
              <a:gd name="connsiteY1" fmla="*/ 261967 h 1107883"/>
              <a:gd name="connsiteX2" fmla="*/ 1069778 w 1189061"/>
              <a:gd name="connsiteY2" fmla="*/ 916906 h 1107883"/>
              <a:gd name="connsiteX3" fmla="*/ 677624 w 1189061"/>
              <a:gd name="connsiteY3" fmla="*/ 1107883 h 1107883"/>
              <a:gd name="connsiteX4" fmla="*/ 523283 w 1189061"/>
              <a:gd name="connsiteY4" fmla="*/ 1088833 h 1107883"/>
              <a:gd name="connsiteX5" fmla="*/ 3032 w 1189061"/>
              <a:gd name="connsiteY5" fmla="*/ 586579 h 1107883"/>
              <a:gd name="connsiteX6" fmla="*/ 118717 w 1189061"/>
              <a:gd name="connsiteY6" fmla="*/ 239869 h 1107883"/>
              <a:gd name="connsiteX7" fmla="*/ 719312 w 1189061"/>
              <a:gd name="connsiteY7" fmla="*/ 316 h 1107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1" h="1107883">
                <a:moveTo>
                  <a:pt x="719312" y="316"/>
                </a:moveTo>
                <a:cubicBezTo>
                  <a:pt x="916953" y="3554"/>
                  <a:pt x="1083137" y="106234"/>
                  <a:pt x="1142638" y="261967"/>
                </a:cubicBezTo>
                <a:cubicBezTo>
                  <a:pt x="1225351" y="476470"/>
                  <a:pt x="1195411" y="745838"/>
                  <a:pt x="1069778" y="916906"/>
                </a:cubicBezTo>
                <a:cubicBezTo>
                  <a:pt x="976643" y="1041779"/>
                  <a:pt x="838313" y="1107883"/>
                  <a:pt x="677624" y="1107883"/>
                </a:cubicBezTo>
                <a:cubicBezTo>
                  <a:pt x="628072" y="1107883"/>
                  <a:pt x="576435" y="1101596"/>
                  <a:pt x="523283" y="1088833"/>
                </a:cubicBezTo>
                <a:cubicBezTo>
                  <a:pt x="257994" y="1025015"/>
                  <a:pt x="44152" y="818513"/>
                  <a:pt x="3032" y="586579"/>
                </a:cubicBezTo>
                <a:cubicBezTo>
                  <a:pt x="-11843" y="459516"/>
                  <a:pt x="28235" y="339596"/>
                  <a:pt x="118717" y="239869"/>
                </a:cubicBezTo>
                <a:cubicBezTo>
                  <a:pt x="254394" y="90327"/>
                  <a:pt x="496280" y="-6257"/>
                  <a:pt x="719312" y="31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Picture Placeholder 69">
            <a:extLst>
              <a:ext uri="{FF2B5EF4-FFF2-40B4-BE49-F238E27FC236}">
                <a16:creationId xmlns:a16="http://schemas.microsoft.com/office/drawing/2014/main" id="{636EDA37-306D-666A-B716-712DC56674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4991187" y="3390357"/>
            <a:ext cx="1920431" cy="1903125"/>
          </a:xfrm>
          <a:custGeom>
            <a:avLst/>
            <a:gdLst>
              <a:gd name="connsiteX0" fmla="*/ 423358 w 1164633"/>
              <a:gd name="connsiteY0" fmla="*/ 579 h 1154057"/>
              <a:gd name="connsiteX1" fmla="*/ 1018102 w 1164633"/>
              <a:gd name="connsiteY1" fmla="*/ 256727 h 1154057"/>
              <a:gd name="connsiteX2" fmla="*/ 1133708 w 1164633"/>
              <a:gd name="connsiteY2" fmla="*/ 740037 h 1154057"/>
              <a:gd name="connsiteX3" fmla="*/ 620182 w 1164633"/>
              <a:gd name="connsiteY3" fmla="*/ 1149079 h 1154057"/>
              <a:gd name="connsiteX4" fmla="*/ 207537 w 1164633"/>
              <a:gd name="connsiteY4" fmla="*/ 1006132 h 1154057"/>
              <a:gd name="connsiteX5" fmla="*/ 111595 w 1164633"/>
              <a:gd name="connsiteY5" fmla="*/ 883647 h 1154057"/>
              <a:gd name="connsiteX6" fmla="*/ 96871 w 1164633"/>
              <a:gd name="connsiteY6" fmla="*/ 162661 h 1154057"/>
              <a:gd name="connsiteX7" fmla="*/ 423358 w 1164633"/>
              <a:gd name="connsiteY7" fmla="*/ 579 h 115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4633" h="1154057">
                <a:moveTo>
                  <a:pt x="423358" y="579"/>
                </a:moveTo>
                <a:cubicBezTo>
                  <a:pt x="625026" y="-8705"/>
                  <a:pt x="864596" y="94456"/>
                  <a:pt x="1018102" y="256727"/>
                </a:cubicBezTo>
                <a:cubicBezTo>
                  <a:pt x="1155936" y="398727"/>
                  <a:pt x="1201342" y="588470"/>
                  <a:pt x="1133708" y="740037"/>
                </a:cubicBezTo>
                <a:cubicBezTo>
                  <a:pt x="1041090" y="949389"/>
                  <a:pt x="829924" y="1117629"/>
                  <a:pt x="620182" y="1149079"/>
                </a:cubicBezTo>
                <a:cubicBezTo>
                  <a:pt x="466105" y="1171057"/>
                  <a:pt x="321432" y="1119713"/>
                  <a:pt x="207537" y="1006132"/>
                </a:cubicBezTo>
                <a:cubicBezTo>
                  <a:pt x="172390" y="971083"/>
                  <a:pt x="140188" y="930159"/>
                  <a:pt x="111595" y="883647"/>
                </a:cubicBezTo>
                <a:cubicBezTo>
                  <a:pt x="-31558" y="651181"/>
                  <a:pt x="-37542" y="354772"/>
                  <a:pt x="96871" y="162661"/>
                </a:cubicBezTo>
                <a:cubicBezTo>
                  <a:pt x="175905" y="62721"/>
                  <a:pt x="288850" y="6736"/>
                  <a:pt x="423358" y="579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Picture Placeholder 70">
            <a:extLst>
              <a:ext uri="{FF2B5EF4-FFF2-40B4-BE49-F238E27FC236}">
                <a16:creationId xmlns:a16="http://schemas.microsoft.com/office/drawing/2014/main" id="{F44AAF14-9864-C522-76DD-39D054272F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152819" y="5950434"/>
            <a:ext cx="1826851" cy="1960850"/>
          </a:xfrm>
          <a:custGeom>
            <a:avLst/>
            <a:gdLst>
              <a:gd name="connsiteX0" fmla="*/ 615058 w 1107882"/>
              <a:gd name="connsiteY0" fmla="*/ 2108 h 1189061"/>
              <a:gd name="connsiteX1" fmla="*/ 868013 w 1107882"/>
              <a:gd name="connsiteY1" fmla="*/ 118717 h 1189061"/>
              <a:gd name="connsiteX2" fmla="*/ 1107567 w 1107882"/>
              <a:gd name="connsiteY2" fmla="*/ 719312 h 1189061"/>
              <a:gd name="connsiteX3" fmla="*/ 845915 w 1107882"/>
              <a:gd name="connsiteY3" fmla="*/ 1142638 h 1189061"/>
              <a:gd name="connsiteX4" fmla="*/ 190976 w 1107882"/>
              <a:gd name="connsiteY4" fmla="*/ 1069778 h 1189061"/>
              <a:gd name="connsiteX5" fmla="*/ 0 w 1107882"/>
              <a:gd name="connsiteY5" fmla="*/ 677624 h 1189061"/>
              <a:gd name="connsiteX6" fmla="*/ 19050 w 1107882"/>
              <a:gd name="connsiteY6" fmla="*/ 523283 h 1189061"/>
              <a:gd name="connsiteX7" fmla="*/ 521303 w 1107882"/>
              <a:gd name="connsiteY7" fmla="*/ 3032 h 1189061"/>
              <a:gd name="connsiteX8" fmla="*/ 615058 w 1107882"/>
              <a:gd name="connsiteY8" fmla="*/ 2108 h 1189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7882" h="1189061">
                <a:moveTo>
                  <a:pt x="615058" y="2108"/>
                </a:moveTo>
                <a:cubicBezTo>
                  <a:pt x="707065" y="11346"/>
                  <a:pt x="793218" y="50856"/>
                  <a:pt x="868013" y="118717"/>
                </a:cubicBezTo>
                <a:cubicBezTo>
                  <a:pt x="1017556" y="254394"/>
                  <a:pt x="1114139" y="496280"/>
                  <a:pt x="1107567" y="719312"/>
                </a:cubicBezTo>
                <a:cubicBezTo>
                  <a:pt x="1104329" y="916953"/>
                  <a:pt x="1001649" y="1083137"/>
                  <a:pt x="845915" y="1142638"/>
                </a:cubicBezTo>
                <a:cubicBezTo>
                  <a:pt x="631412" y="1225351"/>
                  <a:pt x="362045" y="1195411"/>
                  <a:pt x="190976" y="1069778"/>
                </a:cubicBezTo>
                <a:cubicBezTo>
                  <a:pt x="66104" y="976643"/>
                  <a:pt x="0" y="838313"/>
                  <a:pt x="0" y="677624"/>
                </a:cubicBezTo>
                <a:cubicBezTo>
                  <a:pt x="0" y="628072"/>
                  <a:pt x="6287" y="576435"/>
                  <a:pt x="19050" y="523283"/>
                </a:cubicBezTo>
                <a:cubicBezTo>
                  <a:pt x="82868" y="257994"/>
                  <a:pt x="289370" y="44152"/>
                  <a:pt x="521303" y="3032"/>
                </a:cubicBezTo>
                <a:cubicBezTo>
                  <a:pt x="553069" y="-687"/>
                  <a:pt x="584389" y="-971"/>
                  <a:pt x="615058" y="210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0" name="Picture Placeholder 71">
            <a:extLst>
              <a:ext uri="{FF2B5EF4-FFF2-40B4-BE49-F238E27FC236}">
                <a16:creationId xmlns:a16="http://schemas.microsoft.com/office/drawing/2014/main" id="{D59DBC40-79B4-11A4-D6E6-9057D54002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7114743" y="3381628"/>
            <a:ext cx="1903003" cy="1920581"/>
          </a:xfrm>
          <a:custGeom>
            <a:avLst/>
            <a:gdLst>
              <a:gd name="connsiteX0" fmla="*/ 646043 w 1154064"/>
              <a:gd name="connsiteY0" fmla="*/ 144 h 1164642"/>
              <a:gd name="connsiteX1" fmla="*/ 991404 w 1154064"/>
              <a:gd name="connsiteY1" fmla="*/ 96881 h 1164642"/>
              <a:gd name="connsiteX2" fmla="*/ 1153391 w 1154064"/>
              <a:gd name="connsiteY2" fmla="*/ 423368 h 1164642"/>
              <a:gd name="connsiteX3" fmla="*/ 1153486 w 1154064"/>
              <a:gd name="connsiteY3" fmla="*/ 423368 h 1164642"/>
              <a:gd name="connsiteX4" fmla="*/ 897337 w 1154064"/>
              <a:gd name="connsiteY4" fmla="*/ 1018112 h 1164642"/>
              <a:gd name="connsiteX5" fmla="*/ 414027 w 1154064"/>
              <a:gd name="connsiteY5" fmla="*/ 1133717 h 1164642"/>
              <a:gd name="connsiteX6" fmla="*/ 4985 w 1154064"/>
              <a:gd name="connsiteY6" fmla="*/ 620191 h 1164642"/>
              <a:gd name="connsiteX7" fmla="*/ 147932 w 1154064"/>
              <a:gd name="connsiteY7" fmla="*/ 207451 h 1164642"/>
              <a:gd name="connsiteX8" fmla="*/ 270417 w 1154064"/>
              <a:gd name="connsiteY8" fmla="*/ 111510 h 1164642"/>
              <a:gd name="connsiteX9" fmla="*/ 646043 w 1154064"/>
              <a:gd name="connsiteY9" fmla="*/ 144 h 116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54064" h="1164642">
                <a:moveTo>
                  <a:pt x="646043" y="144"/>
                </a:moveTo>
                <a:cubicBezTo>
                  <a:pt x="773218" y="-2433"/>
                  <a:pt x="895348" y="29674"/>
                  <a:pt x="991404" y="96881"/>
                </a:cubicBezTo>
                <a:cubicBezTo>
                  <a:pt x="1091248" y="175914"/>
                  <a:pt x="1147234" y="288954"/>
                  <a:pt x="1153391" y="423368"/>
                </a:cubicBezTo>
                <a:lnTo>
                  <a:pt x="1153486" y="423368"/>
                </a:lnTo>
                <a:cubicBezTo>
                  <a:pt x="1162769" y="625036"/>
                  <a:pt x="1059609" y="864605"/>
                  <a:pt x="897337" y="1018112"/>
                </a:cubicBezTo>
                <a:cubicBezTo>
                  <a:pt x="755338" y="1155945"/>
                  <a:pt x="565594" y="1201351"/>
                  <a:pt x="414027" y="1133717"/>
                </a:cubicBezTo>
                <a:cubicBezTo>
                  <a:pt x="204675" y="1041100"/>
                  <a:pt x="36435" y="829838"/>
                  <a:pt x="4985" y="620191"/>
                </a:cubicBezTo>
                <a:cubicBezTo>
                  <a:pt x="-16992" y="466114"/>
                  <a:pt x="34257" y="321442"/>
                  <a:pt x="147932" y="207451"/>
                </a:cubicBezTo>
                <a:cubicBezTo>
                  <a:pt x="182982" y="172304"/>
                  <a:pt x="223905" y="140102"/>
                  <a:pt x="270417" y="111510"/>
                </a:cubicBezTo>
                <a:cubicBezTo>
                  <a:pt x="386650" y="39981"/>
                  <a:pt x="518869" y="2720"/>
                  <a:pt x="646043" y="144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Picture Placeholder 46">
            <a:extLst>
              <a:ext uri="{FF2B5EF4-FFF2-40B4-BE49-F238E27FC236}">
                <a16:creationId xmlns:a16="http://schemas.microsoft.com/office/drawing/2014/main" id="{F04AB762-4CF8-5C82-6AD3-6CED58E97D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704085" y="3428429"/>
            <a:ext cx="1960710" cy="1826979"/>
          </a:xfrm>
          <a:custGeom>
            <a:avLst/>
            <a:gdLst>
              <a:gd name="connsiteX0" fmla="*/ 511437 w 1189060"/>
              <a:gd name="connsiteY0" fmla="*/ 0 h 1107882"/>
              <a:gd name="connsiteX1" fmla="*/ 665779 w 1189060"/>
              <a:gd name="connsiteY1" fmla="*/ 19050 h 1107882"/>
              <a:gd name="connsiteX2" fmla="*/ 1186029 w 1189060"/>
              <a:gd name="connsiteY2" fmla="*/ 521303 h 1107882"/>
              <a:gd name="connsiteX3" fmla="*/ 1070344 w 1189060"/>
              <a:gd name="connsiteY3" fmla="*/ 868013 h 1107882"/>
              <a:gd name="connsiteX4" fmla="*/ 469749 w 1189060"/>
              <a:gd name="connsiteY4" fmla="*/ 1107567 h 1107882"/>
              <a:gd name="connsiteX5" fmla="*/ 46424 w 1189060"/>
              <a:gd name="connsiteY5" fmla="*/ 845915 h 1107882"/>
              <a:gd name="connsiteX6" fmla="*/ 119284 w 1189060"/>
              <a:gd name="connsiteY6" fmla="*/ 190976 h 1107882"/>
              <a:gd name="connsiteX7" fmla="*/ 511437 w 1189060"/>
              <a:gd name="connsiteY7" fmla="*/ 0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511437" y="0"/>
                </a:move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798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2461144-37F7-1B8E-8C8F-A142D7874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Regular heading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54B0AF49-A51C-151B-05A9-7178FFC369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accent2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24961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58400" y="-28574"/>
            <a:ext cx="10044112" cy="11344275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6410" y="3902075"/>
            <a:ext cx="754380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36410" y="232863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9D839CC-AA21-4946-83F4-94631E8EA694}"/>
              </a:ext>
            </a:extLst>
          </p:cNvPr>
          <p:cNvSpPr/>
          <p:nvPr userDrawn="1"/>
        </p:nvSpPr>
        <p:spPr>
          <a:xfrm rot="16640235">
            <a:off x="5721214" y="6562171"/>
            <a:ext cx="9312327" cy="296097"/>
          </a:xfrm>
          <a:custGeom>
            <a:avLst/>
            <a:gdLst>
              <a:gd name="connsiteX0" fmla="*/ 9312327 w 9312327"/>
              <a:gd name="connsiteY0" fmla="*/ 0 h 296097"/>
              <a:gd name="connsiteX1" fmla="*/ 9312327 w 9312327"/>
              <a:gd name="connsiteY1" fmla="*/ 296097 h 296097"/>
              <a:gd name="connsiteX2" fmla="*/ 38126 w 9312327"/>
              <a:gd name="connsiteY2" fmla="*/ 296097 h 296097"/>
              <a:gd name="connsiteX3" fmla="*/ 0 w 9312327"/>
              <a:gd name="connsiteY3" fmla="*/ 0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12327" h="296097">
                <a:moveTo>
                  <a:pt x="9312327" y="0"/>
                </a:moveTo>
                <a:lnTo>
                  <a:pt x="9312327" y="296097"/>
                </a:lnTo>
                <a:lnTo>
                  <a:pt x="38126" y="29609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5367362-1672-498C-96BD-E4EA11D6BD3E}"/>
              </a:ext>
            </a:extLst>
          </p:cNvPr>
          <p:cNvSpPr>
            <a:spLocks noChangeAspect="1"/>
          </p:cNvSpPr>
          <p:nvPr userDrawn="1"/>
        </p:nvSpPr>
        <p:spPr>
          <a:xfrm rot="16640235">
            <a:off x="6317223" y="7718284"/>
            <a:ext cx="6981012" cy="296097"/>
          </a:xfrm>
          <a:custGeom>
            <a:avLst/>
            <a:gdLst>
              <a:gd name="connsiteX0" fmla="*/ 6981012 w 6981012"/>
              <a:gd name="connsiteY0" fmla="*/ 0 h 296097"/>
              <a:gd name="connsiteX1" fmla="*/ 6981012 w 6981012"/>
              <a:gd name="connsiteY1" fmla="*/ 296097 h 296097"/>
              <a:gd name="connsiteX2" fmla="*/ 38126 w 6981012"/>
              <a:gd name="connsiteY2" fmla="*/ 296097 h 296097"/>
              <a:gd name="connsiteX3" fmla="*/ 0 w 6981012"/>
              <a:gd name="connsiteY3" fmla="*/ 1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1012" h="296097">
                <a:moveTo>
                  <a:pt x="6981012" y="0"/>
                </a:moveTo>
                <a:lnTo>
                  <a:pt x="6981012" y="296097"/>
                </a:lnTo>
                <a:lnTo>
                  <a:pt x="38126" y="296097"/>
                </a:lnTo>
                <a:lnTo>
                  <a:pt x="0" y="1"/>
                </a:lnTo>
                <a:close/>
              </a:path>
            </a:pathLst>
          </a:custGeom>
          <a:gradFill flip="none" rotWithShape="1">
            <a:gsLst>
              <a:gs pos="54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328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909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aphic 48">
            <a:extLst>
              <a:ext uri="{FF2B5EF4-FFF2-40B4-BE49-F238E27FC236}">
                <a16:creationId xmlns:a16="http://schemas.microsoft.com/office/drawing/2014/main" id="{75DAC041-23E1-D93E-FCC2-75B842262D09}"/>
              </a:ext>
            </a:extLst>
          </p:cNvPr>
          <p:cNvSpPr/>
          <p:nvPr userDrawn="1"/>
        </p:nvSpPr>
        <p:spPr>
          <a:xfrm>
            <a:off x="1112664" y="1323697"/>
            <a:ext cx="8405371" cy="7832079"/>
          </a:xfrm>
          <a:custGeom>
            <a:avLst/>
            <a:gdLst>
              <a:gd name="connsiteX0" fmla="*/ 1070344 w 1189060"/>
              <a:gd name="connsiteY0" fmla="*/ 868013 h 1107882"/>
              <a:gd name="connsiteX1" fmla="*/ 469749 w 1189060"/>
              <a:gd name="connsiteY1" fmla="*/ 1107567 h 1107882"/>
              <a:gd name="connsiteX2" fmla="*/ 46424 w 1189060"/>
              <a:gd name="connsiteY2" fmla="*/ 845915 h 1107882"/>
              <a:gd name="connsiteX3" fmla="*/ 119284 w 1189060"/>
              <a:gd name="connsiteY3" fmla="*/ 190976 h 1107882"/>
              <a:gd name="connsiteX4" fmla="*/ 511437 w 1189060"/>
              <a:gd name="connsiteY4" fmla="*/ 0 h 1107882"/>
              <a:gd name="connsiteX5" fmla="*/ 665779 w 1189060"/>
              <a:gd name="connsiteY5" fmla="*/ 19050 h 1107882"/>
              <a:gd name="connsiteX6" fmla="*/ 1186029 w 1189060"/>
              <a:gd name="connsiteY6" fmla="*/ 521303 h 1107882"/>
              <a:gd name="connsiteX7" fmla="*/ 1070344 w 1189060"/>
              <a:gd name="connsiteY7" fmla="*/ 868013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1070344" y="868013"/>
                </a:move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</a:path>
            </a:pathLst>
          </a:custGeom>
          <a:solidFill>
            <a:schemeClr val="accent2"/>
          </a:solidFill>
          <a:ln w="944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ABC006-C4FF-A1F4-36AF-0C94003C2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86064" y="905796"/>
            <a:ext cx="8431683" cy="86678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lnSpc>
                <a:spcPct val="90000"/>
              </a:lnSpc>
              <a:defRPr sz="10719"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hapter Slid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D378FF-8076-D182-237A-7F57163EC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2664" y="3101416"/>
            <a:ext cx="8405371" cy="427664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1225"/>
            </a:lvl1pPr>
          </a:lstStyle>
          <a:p>
            <a:pPr lvl="0"/>
            <a:r>
              <a:rPr lang="en-GB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5923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2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5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/>
      <p:bldP spid="4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750"/>
                  </p:stCondLst>
                  <p:iterate type="lt">
                    <p:tmPct val="2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400" fill="hold"/>
                        <p:tgtEl>
                          <p:spTgt spid="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6868815C-BBCD-8F0E-68F3-59774FD956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03706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6868815C-BBCD-8F0E-68F3-59774FD956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6356" y="1963706"/>
            <a:ext cx="17931391" cy="7859273"/>
          </a:xfrm>
        </p:spPr>
        <p:txBody>
          <a:bodyPr>
            <a:noAutofit/>
          </a:bodyPr>
          <a:lstStyle>
            <a:lvl1pPr marL="356184" indent="-296820">
              <a:buClr>
                <a:schemeClr val="accent2"/>
              </a:buClr>
              <a:buFont typeface="Arial" panose="020B0604020202020204" pitchFamily="34" charset="0"/>
              <a:buChar char="•"/>
              <a:defRPr sz="2309" b="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9380B548-17E0-9C5B-CE0B-A41A56016A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6356" y="9966590"/>
            <a:ext cx="17931391" cy="480227"/>
          </a:xfrm>
        </p:spPr>
        <p:txBody>
          <a:bodyPr anchor="b">
            <a:normAutofit/>
          </a:bodyPr>
          <a:lstStyle>
            <a:lvl1pPr marL="59364" indent="0">
              <a:spcAft>
                <a:spcPts val="0"/>
              </a:spcAft>
              <a:buNone/>
              <a:defRPr sz="1649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31" name="Graphic 2">
            <a:extLst>
              <a:ext uri="{FF2B5EF4-FFF2-40B4-BE49-F238E27FC236}">
                <a16:creationId xmlns:a16="http://schemas.microsoft.com/office/drawing/2014/main" id="{33B38EB3-F919-6202-9B4A-C5EAA1171040}"/>
              </a:ext>
            </a:extLst>
          </p:cNvPr>
          <p:cNvSpPr>
            <a:spLocks noChangeAspect="1"/>
          </p:cNvSpPr>
          <p:nvPr userDrawn="1"/>
        </p:nvSpPr>
        <p:spPr>
          <a:xfrm>
            <a:off x="19105677" y="266575"/>
            <a:ext cx="507840" cy="508962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00625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NL" sz="2968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B4BEA-97D5-8160-E859-85EC9FFAAC14}"/>
              </a:ext>
            </a:extLst>
          </p:cNvPr>
          <p:cNvSpPr txBox="1"/>
          <p:nvPr userDrawn="1"/>
        </p:nvSpPr>
        <p:spPr>
          <a:xfrm>
            <a:off x="8306688" y="10697092"/>
            <a:ext cx="3490728" cy="320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spcAft>
                <a:spcPts val="495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GB" sz="1484">
                <a:solidFill>
                  <a:srgbClr val="66A1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DH 2022 |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9C7FDD-8F00-03A5-FF01-40BD9538142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NL" smtClean="0"/>
              <a:pPr/>
              <a:t>‹#›</a:t>
            </a:fld>
            <a:endParaRPr lang="en-N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A5CDC7C-7F91-B7E6-C39E-9F50C91CFBCF}"/>
              </a:ext>
            </a:extLst>
          </p:cNvPr>
          <p:cNvGrpSpPr/>
          <p:nvPr userDrawn="1"/>
        </p:nvGrpSpPr>
        <p:grpSpPr>
          <a:xfrm>
            <a:off x="20358623" y="120542"/>
            <a:ext cx="2296013" cy="2309033"/>
            <a:chOff x="1318611" y="3000051"/>
            <a:chExt cx="1392402" cy="14002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6AFE65-9C30-9A69-5D40-77D4F246BFA4}"/>
                </a:ext>
              </a:extLst>
            </p:cNvPr>
            <p:cNvSpPr txBox="1"/>
            <p:nvPr/>
          </p:nvSpPr>
          <p:spPr>
            <a:xfrm>
              <a:off x="1340308" y="3000051"/>
              <a:ext cx="1349008" cy="3693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979" b="1">
                  <a:solidFill>
                    <a:srgbClr val="0062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or scheme</a:t>
              </a:r>
            </a:p>
            <a:p>
              <a:pPr algn="ctr"/>
              <a:r>
                <a:rPr lang="en-GB" sz="1979" b="1">
                  <a:solidFill>
                    <a:srgbClr val="0062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use eyedropper)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E0A82E5-B69C-CD49-535D-9320B4D8A7DB}"/>
                </a:ext>
              </a:extLst>
            </p:cNvPr>
            <p:cNvGrpSpPr/>
            <p:nvPr/>
          </p:nvGrpSpPr>
          <p:grpSpPr>
            <a:xfrm>
              <a:off x="1318611" y="3428999"/>
              <a:ext cx="1392402" cy="971252"/>
              <a:chOff x="1327638" y="3428999"/>
              <a:chExt cx="1392402" cy="971252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0934681-C854-B7DF-8DDF-3E4CDC620BDE}"/>
                  </a:ext>
                </a:extLst>
              </p:cNvPr>
              <p:cNvSpPr/>
              <p:nvPr/>
            </p:nvSpPr>
            <p:spPr>
              <a:xfrm>
                <a:off x="1327638" y="3428999"/>
                <a:ext cx="180000" cy="1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F0CED6DE-7C8D-C6C5-A4A8-9F1C3B943B53}"/>
                  </a:ext>
                </a:extLst>
              </p:cNvPr>
              <p:cNvSpPr/>
              <p:nvPr/>
            </p:nvSpPr>
            <p:spPr>
              <a:xfrm>
                <a:off x="1529705" y="3428999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44B9990-8B8F-9CAE-12D4-5DCE5A5503C0}"/>
                  </a:ext>
                </a:extLst>
              </p:cNvPr>
              <p:cNvSpPr/>
              <p:nvPr/>
            </p:nvSpPr>
            <p:spPr>
              <a:xfrm>
                <a:off x="1731772" y="3428999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BCCBF82-2A3C-CA59-F5FB-8CDF48E1D7E4}"/>
                  </a:ext>
                </a:extLst>
              </p:cNvPr>
              <p:cNvSpPr/>
              <p:nvPr/>
            </p:nvSpPr>
            <p:spPr>
              <a:xfrm>
                <a:off x="1933839" y="3428999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58B4DF5-F75B-18A0-1E05-4CAB2F2596A3}"/>
                  </a:ext>
                </a:extLst>
              </p:cNvPr>
              <p:cNvSpPr/>
              <p:nvPr/>
            </p:nvSpPr>
            <p:spPr>
              <a:xfrm>
                <a:off x="2135906" y="3428999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9B2BAB3-8EC5-0338-9074-30480FB23B06}"/>
                  </a:ext>
                </a:extLst>
              </p:cNvPr>
              <p:cNvSpPr/>
              <p:nvPr/>
            </p:nvSpPr>
            <p:spPr>
              <a:xfrm>
                <a:off x="2337973" y="3428999"/>
                <a:ext cx="180000" cy="180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4CB9917-893B-CE4C-0F0A-DB8EAFFE0056}"/>
                  </a:ext>
                </a:extLst>
              </p:cNvPr>
              <p:cNvSpPr/>
              <p:nvPr/>
            </p:nvSpPr>
            <p:spPr>
              <a:xfrm>
                <a:off x="1327638" y="3626812"/>
                <a:ext cx="180000" cy="180000"/>
              </a:xfrm>
              <a:prstGeom prst="rect">
                <a:avLst/>
              </a:prstGeom>
              <a:solidFill>
                <a:srgbClr val="3381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1B43DC8-56A4-9A94-5C25-F0B1D9AEA662}"/>
                  </a:ext>
                </a:extLst>
              </p:cNvPr>
              <p:cNvSpPr/>
              <p:nvPr/>
            </p:nvSpPr>
            <p:spPr>
              <a:xfrm>
                <a:off x="1529705" y="3626812"/>
                <a:ext cx="180000" cy="180000"/>
              </a:xfrm>
              <a:prstGeom prst="rect">
                <a:avLst/>
              </a:prstGeom>
              <a:solidFill>
                <a:srgbClr val="6CE19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672A82B-D680-C1AC-ED50-8780F66EB398}"/>
                  </a:ext>
                </a:extLst>
              </p:cNvPr>
              <p:cNvSpPr/>
              <p:nvPr/>
            </p:nvSpPr>
            <p:spPr>
              <a:xfrm>
                <a:off x="1731772" y="3626812"/>
                <a:ext cx="180000" cy="180000"/>
              </a:xfrm>
              <a:prstGeom prst="rect">
                <a:avLst/>
              </a:prstGeom>
              <a:solidFill>
                <a:srgbClr val="FF7D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8AC1576-953E-0EC3-E2F3-7B956EEFA675}"/>
                  </a:ext>
                </a:extLst>
              </p:cNvPr>
              <p:cNvSpPr/>
              <p:nvPr/>
            </p:nvSpPr>
            <p:spPr>
              <a:xfrm>
                <a:off x="1933839" y="3626812"/>
                <a:ext cx="180000" cy="180000"/>
              </a:xfrm>
              <a:prstGeom prst="rect">
                <a:avLst/>
              </a:prstGeom>
              <a:solidFill>
                <a:srgbClr val="FFD13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338ABAA-8C70-FE9C-BCFD-56929529645B}"/>
                  </a:ext>
                </a:extLst>
              </p:cNvPr>
              <p:cNvSpPr/>
              <p:nvPr/>
            </p:nvSpPr>
            <p:spPr>
              <a:xfrm>
                <a:off x="2135906" y="3626812"/>
                <a:ext cx="180000" cy="180000"/>
              </a:xfrm>
              <a:prstGeom prst="rect">
                <a:avLst/>
              </a:prstGeom>
              <a:solidFill>
                <a:srgbClr val="33AD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ED62697-693B-3C50-11D5-5248144DE517}"/>
                  </a:ext>
                </a:extLst>
              </p:cNvPr>
              <p:cNvSpPr/>
              <p:nvPr/>
            </p:nvSpPr>
            <p:spPr>
              <a:xfrm>
                <a:off x="2337973" y="3626812"/>
                <a:ext cx="180000" cy="180000"/>
              </a:xfrm>
              <a:prstGeom prst="rect">
                <a:avLst/>
              </a:prstGeom>
              <a:solidFill>
                <a:srgbClr val="935B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695B608-0854-5E8A-D9FA-11816BD11517}"/>
                  </a:ext>
                </a:extLst>
              </p:cNvPr>
              <p:cNvSpPr/>
              <p:nvPr/>
            </p:nvSpPr>
            <p:spPr>
              <a:xfrm>
                <a:off x="1327638" y="3824625"/>
                <a:ext cx="180000" cy="180000"/>
              </a:xfrm>
              <a:prstGeom prst="rect">
                <a:avLst/>
              </a:prstGeom>
              <a:solidFill>
                <a:srgbClr val="66A1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06A193F-74FD-9A79-7B07-81F09ACD9F42}"/>
                  </a:ext>
                </a:extLst>
              </p:cNvPr>
              <p:cNvSpPr/>
              <p:nvPr/>
            </p:nvSpPr>
            <p:spPr>
              <a:xfrm>
                <a:off x="1529705" y="3824625"/>
                <a:ext cx="180000" cy="180000"/>
              </a:xfrm>
              <a:prstGeom prst="rect">
                <a:avLst/>
              </a:prstGeom>
              <a:solidFill>
                <a:srgbClr val="91E8B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3CBC2B8-54B3-12F9-979C-70EE0824DB32}"/>
                  </a:ext>
                </a:extLst>
              </p:cNvPr>
              <p:cNvSpPr/>
              <p:nvPr/>
            </p:nvSpPr>
            <p:spPr>
              <a:xfrm>
                <a:off x="1731772" y="3824625"/>
                <a:ext cx="180000" cy="180000"/>
              </a:xfrm>
              <a:prstGeom prst="rect">
                <a:avLst/>
              </a:prstGeom>
              <a:solidFill>
                <a:srgbClr val="FF9E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E334C14-0408-A2E0-C508-14DF12D5AED3}"/>
                  </a:ext>
                </a:extLst>
              </p:cNvPr>
              <p:cNvSpPr/>
              <p:nvPr/>
            </p:nvSpPr>
            <p:spPr>
              <a:xfrm>
                <a:off x="1933839" y="3824625"/>
                <a:ext cx="180000" cy="180000"/>
              </a:xfrm>
              <a:prstGeom prst="rect">
                <a:avLst/>
              </a:prstGeom>
              <a:solidFill>
                <a:srgbClr val="FFDC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6D8EB09-9558-DA37-73F7-2FC8DEE614E8}"/>
                  </a:ext>
                </a:extLst>
              </p:cNvPr>
              <p:cNvSpPr/>
              <p:nvPr/>
            </p:nvSpPr>
            <p:spPr>
              <a:xfrm>
                <a:off x="2135906" y="3824625"/>
                <a:ext cx="180000" cy="180000"/>
              </a:xfrm>
              <a:prstGeom prst="rect">
                <a:avLst/>
              </a:prstGeom>
              <a:solidFill>
                <a:srgbClr val="66C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D89D70F-0920-93A3-9980-74AFBDAD0605}"/>
                  </a:ext>
                </a:extLst>
              </p:cNvPr>
              <p:cNvSpPr/>
              <p:nvPr/>
            </p:nvSpPr>
            <p:spPr>
              <a:xfrm>
                <a:off x="2337973" y="3824625"/>
                <a:ext cx="180000" cy="180000"/>
              </a:xfrm>
              <a:prstGeom prst="rect">
                <a:avLst/>
              </a:prstGeom>
              <a:solidFill>
                <a:srgbClr val="AE84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EDACFF2-BCCC-CD0F-CEC4-34CA2A09F25B}"/>
                  </a:ext>
                </a:extLst>
              </p:cNvPr>
              <p:cNvSpPr/>
              <p:nvPr/>
            </p:nvSpPr>
            <p:spPr>
              <a:xfrm>
                <a:off x="1327638" y="4022438"/>
                <a:ext cx="180000" cy="180000"/>
              </a:xfrm>
              <a:prstGeom prst="rect">
                <a:avLst/>
              </a:prstGeom>
              <a:solidFill>
                <a:srgbClr val="99C0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01C9F56-8D95-E8E6-DA16-C73DB03C2D79}"/>
                  </a:ext>
                </a:extLst>
              </p:cNvPr>
              <p:cNvSpPr/>
              <p:nvPr/>
            </p:nvSpPr>
            <p:spPr>
              <a:xfrm>
                <a:off x="1529705" y="4022438"/>
                <a:ext cx="180000" cy="180000"/>
              </a:xfrm>
              <a:prstGeom prst="rect">
                <a:avLst/>
              </a:prstGeom>
              <a:solidFill>
                <a:srgbClr val="B5F0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C5C3C56-93ED-9425-4E7F-BC1B85B72822}"/>
                  </a:ext>
                </a:extLst>
              </p:cNvPr>
              <p:cNvSpPr/>
              <p:nvPr/>
            </p:nvSpPr>
            <p:spPr>
              <a:xfrm>
                <a:off x="1731772" y="4022438"/>
                <a:ext cx="180000" cy="180000"/>
              </a:xfrm>
              <a:prstGeom prst="rect">
                <a:avLst/>
              </a:prstGeom>
              <a:solidFill>
                <a:srgbClr val="FFBE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A11219C-B072-FFD0-7DEA-EC7CFA383049}"/>
                  </a:ext>
                </a:extLst>
              </p:cNvPr>
              <p:cNvSpPr/>
              <p:nvPr/>
            </p:nvSpPr>
            <p:spPr>
              <a:xfrm>
                <a:off x="1933839" y="4022438"/>
                <a:ext cx="180000" cy="180000"/>
              </a:xfrm>
              <a:prstGeom prst="rect">
                <a:avLst/>
              </a:prstGeom>
              <a:solidFill>
                <a:srgbClr val="FFE8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A91CD12-82F1-535E-A592-33B568169DCA}"/>
                  </a:ext>
                </a:extLst>
              </p:cNvPr>
              <p:cNvSpPr/>
              <p:nvPr/>
            </p:nvSpPr>
            <p:spPr>
              <a:xfrm>
                <a:off x="2135906" y="4022438"/>
                <a:ext cx="180000" cy="180000"/>
              </a:xfrm>
              <a:prstGeom prst="rect">
                <a:avLst/>
              </a:prstGeom>
              <a:solidFill>
                <a:srgbClr val="99D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B0C45C-7FB7-B9FE-3711-24C9D0F9657B}"/>
                  </a:ext>
                </a:extLst>
              </p:cNvPr>
              <p:cNvSpPr/>
              <p:nvPr/>
            </p:nvSpPr>
            <p:spPr>
              <a:xfrm>
                <a:off x="2337973" y="4022438"/>
                <a:ext cx="180000" cy="180000"/>
              </a:xfrm>
              <a:prstGeom prst="rect">
                <a:avLst/>
              </a:prstGeom>
              <a:solidFill>
                <a:srgbClr val="C9AD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E1DA915-63E0-F526-6BC5-F72D66A40E48}"/>
                  </a:ext>
                </a:extLst>
              </p:cNvPr>
              <p:cNvSpPr/>
              <p:nvPr/>
            </p:nvSpPr>
            <p:spPr>
              <a:xfrm>
                <a:off x="1327638" y="4220251"/>
                <a:ext cx="180000" cy="180000"/>
              </a:xfrm>
              <a:prstGeom prst="rect">
                <a:avLst/>
              </a:prstGeom>
              <a:solidFill>
                <a:srgbClr val="CCE0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DF271A35-58F0-277D-296A-4057D4FFAAD1}"/>
                  </a:ext>
                </a:extLst>
              </p:cNvPr>
              <p:cNvSpPr/>
              <p:nvPr/>
            </p:nvSpPr>
            <p:spPr>
              <a:xfrm>
                <a:off x="1529705" y="4220251"/>
                <a:ext cx="180000" cy="180000"/>
              </a:xfrm>
              <a:prstGeom prst="rect">
                <a:avLst/>
              </a:prstGeom>
              <a:solidFill>
                <a:srgbClr val="DAF7E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1D64952-933B-92A7-5ABF-50576B4EBE40}"/>
                  </a:ext>
                </a:extLst>
              </p:cNvPr>
              <p:cNvSpPr/>
              <p:nvPr/>
            </p:nvSpPr>
            <p:spPr>
              <a:xfrm>
                <a:off x="1731772" y="4220251"/>
                <a:ext cx="180000" cy="180000"/>
              </a:xfrm>
              <a:prstGeom prst="rect">
                <a:avLst/>
              </a:prstGeom>
              <a:solidFill>
                <a:srgbClr val="FFDF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6E83CC9-30EA-D799-C10D-967F17EB6578}"/>
                  </a:ext>
                </a:extLst>
              </p:cNvPr>
              <p:cNvSpPr/>
              <p:nvPr/>
            </p:nvSpPr>
            <p:spPr>
              <a:xfrm>
                <a:off x="1933839" y="4220251"/>
                <a:ext cx="180000" cy="180000"/>
              </a:xfrm>
              <a:prstGeom prst="rect">
                <a:avLst/>
              </a:prstGeom>
              <a:solidFill>
                <a:srgbClr val="FFF3C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C1CCD9E-1A99-C383-0101-56884A434856}"/>
                  </a:ext>
                </a:extLst>
              </p:cNvPr>
              <p:cNvSpPr/>
              <p:nvPr/>
            </p:nvSpPr>
            <p:spPr>
              <a:xfrm>
                <a:off x="2135906" y="4220251"/>
                <a:ext cx="180000" cy="180000"/>
              </a:xfrm>
              <a:prstGeom prst="rect">
                <a:avLst/>
              </a:prstGeom>
              <a:solidFill>
                <a:srgbClr val="CCE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154D70CC-498E-0804-B512-ECB68A6FF609}"/>
                  </a:ext>
                </a:extLst>
              </p:cNvPr>
              <p:cNvSpPr/>
              <p:nvPr/>
            </p:nvSpPr>
            <p:spPr>
              <a:xfrm>
                <a:off x="2337973" y="4220251"/>
                <a:ext cx="180000" cy="180000"/>
              </a:xfrm>
              <a:prstGeom prst="rect">
                <a:avLst/>
              </a:prstGeom>
              <a:solidFill>
                <a:srgbClr val="E4D6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FB0F4D47-58EF-33FD-59DB-62DEBB09AD9E}"/>
                  </a:ext>
                </a:extLst>
              </p:cNvPr>
              <p:cNvSpPr/>
              <p:nvPr/>
            </p:nvSpPr>
            <p:spPr>
              <a:xfrm>
                <a:off x="2540040" y="3428999"/>
                <a:ext cx="180000" cy="180000"/>
              </a:xfrm>
              <a:prstGeom prst="rect">
                <a:avLst/>
              </a:prstGeom>
              <a:solidFill>
                <a:srgbClr val="2D2D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B2B95B5-EF18-6927-02B5-E5EFFA421DAE}"/>
                  </a:ext>
                </a:extLst>
              </p:cNvPr>
              <p:cNvSpPr/>
              <p:nvPr/>
            </p:nvSpPr>
            <p:spPr>
              <a:xfrm>
                <a:off x="2540040" y="3626812"/>
                <a:ext cx="180000" cy="180000"/>
              </a:xfrm>
              <a:prstGeom prst="rect">
                <a:avLst/>
              </a:prstGeom>
              <a:solidFill>
                <a:srgbClr val="5757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A028043-1282-772E-5DE2-FC7898971940}"/>
                  </a:ext>
                </a:extLst>
              </p:cNvPr>
              <p:cNvSpPr/>
              <p:nvPr/>
            </p:nvSpPr>
            <p:spPr>
              <a:xfrm>
                <a:off x="2540040" y="3824625"/>
                <a:ext cx="180000" cy="180000"/>
              </a:xfrm>
              <a:prstGeom prst="rect">
                <a:avLst/>
              </a:prstGeom>
              <a:solidFill>
                <a:srgbClr val="81818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F6EE9FA8-F2AE-8DB2-3884-F0ACA265621B}"/>
                  </a:ext>
                </a:extLst>
              </p:cNvPr>
              <p:cNvSpPr/>
              <p:nvPr/>
            </p:nvSpPr>
            <p:spPr>
              <a:xfrm>
                <a:off x="2540040" y="4022438"/>
                <a:ext cx="180000" cy="180000"/>
              </a:xfrm>
              <a:prstGeom prst="rect">
                <a:avLst/>
              </a:prstGeom>
              <a:solidFill>
                <a:srgbClr val="ABAB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217A47C-0E78-9DA8-BA36-4D9CE62CECAE}"/>
                  </a:ext>
                </a:extLst>
              </p:cNvPr>
              <p:cNvSpPr/>
              <p:nvPr/>
            </p:nvSpPr>
            <p:spPr>
              <a:xfrm>
                <a:off x="2540040" y="4220251"/>
                <a:ext cx="180000" cy="180000"/>
              </a:xfrm>
              <a:prstGeom prst="rect">
                <a:avLst/>
              </a:prstGeom>
              <a:solidFill>
                <a:srgbClr val="D5D5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</p:grpSp>
      </p:grpSp>
      <p:sp>
        <p:nvSpPr>
          <p:cNvPr id="48" name="Title 47">
            <a:extLst>
              <a:ext uri="{FF2B5EF4-FFF2-40B4-BE49-F238E27FC236}">
                <a16:creationId xmlns:a16="http://schemas.microsoft.com/office/drawing/2014/main" id="{F9ECC2CA-66B4-9A8A-A1F4-D958985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355" y="612258"/>
            <a:ext cx="17931390" cy="94986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3298" b="0" dirty="0">
                <a:solidFill>
                  <a:srgbClr val="00625F"/>
                </a:solidFill>
                <a:ea typeface="+mn-ea"/>
              </a:defRPr>
            </a:lvl1pPr>
          </a:lstStyle>
          <a:p>
            <a:pPr lvl="0"/>
            <a:r>
              <a:rPr lang="en-GB"/>
              <a:t>Slide topic (change to bold, including the vertical bar) | Key take-away of the slid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5691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25B6C1A5-44FF-F1AD-DBF4-D4CCDB07A7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3DF6071-D3E1-23BD-3F58-A648DBAE0A6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2A7F844-302A-D32C-6BF3-1EA438717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Regular heading goes he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C531370-F196-1C33-7DC8-DBF0301C2A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bg1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04396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3DF6071-D3E1-23BD-3F58-A648DBAE0A6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52A7F844-302A-D32C-6BF3-1EA438717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Regular heading goes here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ED9BA653-7394-2180-DDD3-07AB23FF2F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accent2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9730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48680" y="-28574"/>
            <a:ext cx="7553831" cy="11344275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2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g object 17">
            <a:extLst>
              <a:ext uri="{FF2B5EF4-FFF2-40B4-BE49-F238E27FC236}">
                <a16:creationId xmlns:a16="http://schemas.microsoft.com/office/drawing/2014/main" id="{1C0CD573-14E2-4D68-97BB-8359A4E3CA4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7235" y="7195715"/>
            <a:ext cx="20104100" cy="2274203"/>
          </a:xfrm>
          <a:prstGeom prst="rect">
            <a:avLst/>
          </a:prstGeom>
          <a:solidFill>
            <a:srgbClr val="399C94"/>
          </a:solidFill>
          <a:ln>
            <a:noFill/>
          </a:ln>
          <a:effectLst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7CE51E4-3397-4B0C-9066-6485B66E1605}"/>
              </a:ext>
            </a:extLst>
          </p:cNvPr>
          <p:cNvCxnSpPr>
            <a:cxnSpLocks/>
          </p:cNvCxnSpPr>
          <p:nvPr userDrawn="1"/>
        </p:nvCxnSpPr>
        <p:spPr>
          <a:xfrm>
            <a:off x="2723744" y="7677879"/>
            <a:ext cx="0" cy="1363971"/>
          </a:xfrm>
          <a:prstGeom prst="line">
            <a:avLst/>
          </a:prstGeom>
          <a:ln w="127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1318;p39">
            <a:extLst>
              <a:ext uri="{FF2B5EF4-FFF2-40B4-BE49-F238E27FC236}">
                <a16:creationId xmlns:a16="http://schemas.microsoft.com/office/drawing/2014/main" id="{0C5FC2CE-6661-4C70-A2CB-A5E843A6DE88}"/>
              </a:ext>
            </a:extLst>
          </p:cNvPr>
          <p:cNvSpPr txBox="1">
            <a:spLocks/>
          </p:cNvSpPr>
          <p:nvPr userDrawn="1"/>
        </p:nvSpPr>
        <p:spPr>
          <a:xfrm>
            <a:off x="3330917" y="7842280"/>
            <a:ext cx="15661527" cy="1199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Overpass"/>
              <a:buNone/>
              <a:defRPr sz="5200" b="1" i="0" u="none" strike="noStrike" cap="none">
                <a:solidFill>
                  <a:schemeClr val="dk2"/>
                </a:solidFill>
                <a:latin typeface="Overpass"/>
                <a:ea typeface="Overpass"/>
                <a:cs typeface="Overpass"/>
                <a:sym typeface="Overpass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B68E"/>
              </a:buClr>
              <a:buSzPts val="3600"/>
              <a:buFont typeface="Overpass"/>
              <a:buNone/>
              <a:tabLst/>
              <a:defRPr/>
            </a:pPr>
            <a:r>
              <a:rPr kumimoji="0" lang="en-GB" sz="6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fortaa" pitchFamily="2" charset="0"/>
                <a:sym typeface="Overpass"/>
              </a:rPr>
              <a:t>Enter Title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9F6631-0C95-4347-BCA4-0865F9458271}"/>
              </a:ext>
            </a:extLst>
          </p:cNvPr>
          <p:cNvSpPr txBox="1"/>
          <p:nvPr userDrawn="1"/>
        </p:nvSpPr>
        <p:spPr>
          <a:xfrm>
            <a:off x="638857" y="7513480"/>
            <a:ext cx="19487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400" b="1" ker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Overpass"/>
              </a:rPr>
              <a:t>01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A6E4EA5-EDCA-451C-B8F3-D6F989A522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2745" y="0"/>
            <a:ext cx="20161251" cy="1130935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270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5966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99450" y="0"/>
            <a:ext cx="11804649" cy="11309350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4617" y="4740275"/>
            <a:ext cx="566284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20" y="29876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3068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1650" y="3008237"/>
            <a:ext cx="8646433" cy="3447098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text goes here -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</a:p>
          <a:p>
            <a:pPr lvl="0"/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20074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BB35C685-8EFC-4458-951F-63088C6E8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050" y="3008237"/>
            <a:ext cx="8646433" cy="6032421"/>
          </a:xfrm>
        </p:spPr>
        <p:txBody>
          <a:bodyPr/>
          <a:lstStyle>
            <a:lvl1pPr marL="342900" indent="-342900">
              <a:buClr>
                <a:srgbClr val="3F9BC9"/>
              </a:buClr>
              <a:buSzPct val="130000"/>
              <a:buFont typeface="Arial" panose="020B0604020202020204" pitchFamily="34" charset="0"/>
              <a:buChar char="•"/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text goes here -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first point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/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second point</a:t>
            </a:r>
            <a:br>
              <a:rPr lang="en-GB"/>
            </a:br>
            <a:r>
              <a:rPr lang="en-GB"/>
              <a:t>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third poi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010EED-98F8-8FB4-2F5D-29E1ADB67D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0979" y="450974"/>
            <a:ext cx="2635810" cy="1040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334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BB35C685-8EFC-4458-951F-63088C6E8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050" y="3008237"/>
            <a:ext cx="8646433" cy="5170646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  <a:r>
              <a:rPr lang="en-GB" err="1"/>
              <a:t>quam</a:t>
            </a:r>
            <a:r>
              <a:rPr lang="en-GB"/>
              <a:t> autem sit </a:t>
            </a:r>
            <a:r>
              <a:rPr lang="en-GB" err="1"/>
              <a:t>pulchrum</a:t>
            </a:r>
            <a:r>
              <a:rPr lang="en-GB"/>
              <a:t> </a:t>
            </a:r>
            <a:r>
              <a:rPr lang="en-GB" err="1"/>
              <a:t>exigua</a:t>
            </a:r>
            <a:r>
              <a:rPr lang="en-GB"/>
              <a:t> </a:t>
            </a:r>
            <a:r>
              <a:rPr lang="en-GB" err="1"/>
              <a:t>haec</a:t>
            </a:r>
            <a:r>
              <a:rPr lang="en-GB"/>
              <a:t> </a:t>
            </a:r>
            <a:r>
              <a:rPr lang="en-GB" err="1"/>
              <a:t>spernentem</a:t>
            </a:r>
            <a:r>
              <a:rPr lang="en-GB"/>
              <a:t> et minima ad </a:t>
            </a:r>
            <a:r>
              <a:rPr lang="en-GB" err="1"/>
              <a:t>ascensus</a:t>
            </a:r>
            <a:r>
              <a:rPr lang="en-GB"/>
              <a:t> </a:t>
            </a:r>
            <a:r>
              <a:rPr lang="en-GB" err="1"/>
              <a:t>verae</a:t>
            </a:r>
            <a:r>
              <a:rPr lang="en-GB"/>
              <a:t> </a:t>
            </a:r>
            <a:r>
              <a:rPr lang="en-GB" err="1"/>
              <a:t>gloriae</a:t>
            </a:r>
            <a:r>
              <a:rPr lang="en-GB"/>
              <a:t> </a:t>
            </a:r>
            <a:r>
              <a:rPr lang="en-GB" err="1"/>
              <a:t>tendere</a:t>
            </a:r>
            <a:r>
              <a:rPr lang="en-GB"/>
              <a:t> </a:t>
            </a:r>
            <a:r>
              <a:rPr lang="en-GB" err="1"/>
              <a:t>longos</a:t>
            </a:r>
            <a:r>
              <a:rPr lang="en-GB"/>
              <a:t> et </a:t>
            </a:r>
            <a:r>
              <a:rPr lang="en-GB" err="1"/>
              <a:t>arduos</a:t>
            </a:r>
            <a:r>
              <a:rPr lang="en-GB"/>
              <a:t>,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emorat</a:t>
            </a:r>
            <a:r>
              <a:rPr lang="en-GB"/>
              <a:t> </a:t>
            </a:r>
            <a:r>
              <a:rPr lang="en-GB" err="1"/>
              <a:t>vates</a:t>
            </a:r>
            <a:r>
              <a:rPr lang="en-GB"/>
              <a:t> </a:t>
            </a:r>
            <a:r>
              <a:rPr lang="en-GB" err="1"/>
              <a:t>Ascraeus</a:t>
            </a:r>
            <a:r>
              <a:rPr lang="en-GB"/>
              <a:t>, </a:t>
            </a:r>
            <a:r>
              <a:rPr lang="en-GB" err="1"/>
              <a:t>Censorius</a:t>
            </a:r>
            <a:r>
              <a:rPr lang="en-GB"/>
              <a:t> Cato </a:t>
            </a:r>
            <a:r>
              <a:rPr lang="en-GB" err="1"/>
              <a:t>monstravit</a:t>
            </a:r>
            <a:r>
              <a:rPr lang="en-GB"/>
              <a:t>. qui </a:t>
            </a:r>
            <a:r>
              <a:rPr lang="en-GB" err="1"/>
              <a:t>interrogatus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ob</a:t>
            </a:r>
            <a:r>
              <a:rPr lang="en-GB"/>
              <a:t> rem inter </a:t>
            </a:r>
            <a:r>
              <a:rPr lang="en-GB" err="1"/>
              <a:t>multos</a:t>
            </a:r>
            <a:r>
              <a:rPr lang="en-GB"/>
              <a:t>...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26A094-BEC1-431D-A3E7-A9767786102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1295062" y="3008313"/>
            <a:ext cx="7138988" cy="7140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AE9639-767F-16B9-1A00-E793D05D79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217054" y="2183580"/>
            <a:ext cx="13669990" cy="7797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6" r:id="rId2"/>
    <p:sldLayoutId id="2147483678" r:id="rId3"/>
    <p:sldLayoutId id="2147483686" r:id="rId4"/>
    <p:sldLayoutId id="2147483690" r:id="rId5"/>
    <p:sldLayoutId id="2147483687" r:id="rId6"/>
    <p:sldLayoutId id="2147483679" r:id="rId7"/>
    <p:sldLayoutId id="2147483675" r:id="rId8"/>
    <p:sldLayoutId id="2147483688" r:id="rId9"/>
    <p:sldLayoutId id="2147483677" r:id="rId10"/>
    <p:sldLayoutId id="2147483689" r:id="rId11"/>
    <p:sldLayoutId id="2147483691" r:id="rId12"/>
    <p:sldLayoutId id="2147483661" r:id="rId13"/>
    <p:sldLayoutId id="2147483662" r:id="rId14"/>
    <p:sldLayoutId id="2147483663" r:id="rId15"/>
    <p:sldLayoutId id="2147483712" r:id="rId16"/>
    <p:sldLayoutId id="2147483672" r:id="rId1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CAD918E-89E6-34C9-564F-762E09C64141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A58BA3-C89E-A115-31E6-5DE9386A8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6356" y="905797"/>
            <a:ext cx="17931388" cy="7248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60D13F-3FF6-D86C-4AB4-CE7C3E1C5B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6355" y="3024952"/>
            <a:ext cx="17931390" cy="654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Plain text</a:t>
            </a:r>
          </a:p>
          <a:p>
            <a:pPr lvl="1"/>
            <a:r>
              <a:rPr lang="en-GB"/>
              <a:t>Bullet</a:t>
            </a:r>
          </a:p>
          <a:p>
            <a:pPr lvl="2"/>
            <a:r>
              <a:rPr lang="en-GB"/>
              <a:t>Sub-bullet</a:t>
            </a:r>
          </a:p>
          <a:p>
            <a:pPr lvl="3"/>
            <a:r>
              <a:rPr lang="en-GB"/>
              <a:t>Header #1</a:t>
            </a:r>
          </a:p>
          <a:p>
            <a:pPr lvl="4"/>
            <a:r>
              <a:rPr lang="en-GB"/>
              <a:t>Header #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664503-F5D0-35B3-2017-D0A942613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383251" y="200029"/>
            <a:ext cx="511378" cy="2892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49">
                <a:solidFill>
                  <a:srgbClr val="FFFFFF"/>
                </a:solidFill>
              </a:defRPr>
            </a:lvl1pPr>
          </a:lstStyle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10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</p:sldLayoutIdLst>
  <p:hf hdr="0" ftr="0" dt="0"/>
  <p:txStyles>
    <p:titleStyle>
      <a:lvl1pPr algn="l" defTabSz="1507846" rtl="0" eaLnBrk="1" latinLnBrk="0" hangingPunct="1">
        <a:lnSpc>
          <a:spcPct val="80000"/>
        </a:lnSpc>
        <a:spcBef>
          <a:spcPct val="0"/>
        </a:spcBef>
        <a:buNone/>
        <a:defRPr sz="5936" b="1" kern="1200">
          <a:solidFill>
            <a:srgbClr val="FFFFFF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Arial" panose="020B0604020202020204" pitchFamily="34" charset="0"/>
        <a:buNone/>
        <a:tabLst/>
        <a:defRPr sz="230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1pPr>
      <a:lvl2pPr marL="298428" indent="-298428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Arial" panose="020B0604020202020204" pitchFamily="34" charset="0"/>
        <a:buChar char="•"/>
        <a:tabLst/>
        <a:defRPr sz="230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2pPr>
      <a:lvl3pPr marL="596856" indent="-298428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Verdana" panose="020B0604030504040204" pitchFamily="34" charset="0"/>
        <a:buChar char="–"/>
        <a:tabLst/>
        <a:defRPr sz="197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3pPr>
      <a:lvl4pPr marL="0" indent="0" algn="l" defTabSz="1507846" rtl="0" eaLnBrk="1" latinLnBrk="0" hangingPunct="1">
        <a:lnSpc>
          <a:spcPct val="80000"/>
        </a:lnSpc>
        <a:spcBef>
          <a:spcPts val="1979"/>
        </a:spcBef>
        <a:spcAft>
          <a:spcPts val="495"/>
        </a:spcAft>
        <a:buClr>
          <a:srgbClr val="47DA86"/>
        </a:buClr>
        <a:buFont typeface="Arial" panose="020B0604020202020204" pitchFamily="34" charset="0"/>
        <a:buNone/>
        <a:tabLst/>
        <a:defRPr sz="2309" b="1" kern="1200" cap="all" baseline="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1507846" rtl="0" eaLnBrk="1" latinLnBrk="0" hangingPunct="1">
        <a:lnSpc>
          <a:spcPct val="80000"/>
        </a:lnSpc>
        <a:spcBef>
          <a:spcPts val="1979"/>
        </a:spcBef>
        <a:spcAft>
          <a:spcPts val="495"/>
        </a:spcAft>
        <a:buClr>
          <a:srgbClr val="47DA86"/>
        </a:buClr>
        <a:buFont typeface="Arial" panose="020B0604020202020204" pitchFamily="34" charset="0"/>
        <a:buNone/>
        <a:tabLst/>
        <a:defRPr sz="3298" b="1" kern="1200">
          <a:solidFill>
            <a:schemeClr val="accent2"/>
          </a:solidFill>
          <a:latin typeface="+mn-lt"/>
          <a:ea typeface="+mn-ea"/>
          <a:cs typeface="Arial" panose="020B0604020202020204" pitchFamily="34" charset="0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65">
          <p15:clr>
            <a:srgbClr val="F26B43"/>
          </p15:clr>
        </p15:guide>
        <p15:guide id="3" orient="horz" pos="346">
          <p15:clr>
            <a:srgbClr val="A4A3A4"/>
          </p15:clr>
        </p15:guide>
        <p15:guide id="4" orient="horz" pos="3657">
          <p15:clr>
            <a:srgbClr val="F26B43"/>
          </p15:clr>
        </p15:guide>
        <p15:guide id="5" pos="415">
          <p15:clr>
            <a:srgbClr val="F26B43"/>
          </p15:clr>
        </p15:guide>
        <p15:guide id="6" pos="3636">
          <p15:clr>
            <a:srgbClr val="F26B43"/>
          </p15:clr>
        </p15:guide>
        <p15:guide id="7" pos="4044">
          <p15:clr>
            <a:srgbClr val="F26B43"/>
          </p15:clr>
        </p15:guide>
        <p15:guide id="8" orient="horz" pos="851">
          <p15:clr>
            <a:srgbClr val="A4A3A4"/>
          </p15:clr>
        </p15:guide>
        <p15:guide id="9" orient="horz" pos="11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image" Target="../media/image22.png"/><Relationship Id="rId21" Type="http://schemas.openxmlformats.org/officeDocument/2006/relationships/image" Target="../media/image20.png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5.svg"/><Relationship Id="rId20" Type="http://schemas.openxmlformats.org/officeDocument/2006/relationships/image" Target="../media/image39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19" Type="http://schemas.openxmlformats.org/officeDocument/2006/relationships/image" Target="../media/image38.png"/><Relationship Id="rId4" Type="http://schemas.openxmlformats.org/officeDocument/2006/relationships/image" Target="../media/image23.svg"/><Relationship Id="rId9" Type="http://schemas.openxmlformats.org/officeDocument/2006/relationships/image" Target="../media/image28.png"/><Relationship Id="rId14" Type="http://schemas.openxmlformats.org/officeDocument/2006/relationships/image" Target="../media/image33.svg"/><Relationship Id="rId22" Type="http://schemas.openxmlformats.org/officeDocument/2006/relationships/image" Target="../media/image4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57.svg"/><Relationship Id="rId7" Type="http://schemas.openxmlformats.org/officeDocument/2006/relationships/image" Target="../media/image43.svg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5" Type="http://schemas.openxmlformats.org/officeDocument/2006/relationships/image" Target="../media/image61.svg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29" Type="http://schemas.openxmlformats.org/officeDocument/2006/relationships/image" Target="../media/image40.svg"/><Relationship Id="rId1" Type="http://schemas.openxmlformats.org/officeDocument/2006/relationships/tags" Target="../tags/tag2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24" Type="http://schemas.openxmlformats.org/officeDocument/2006/relationships/image" Target="../media/image60.png"/><Relationship Id="rId5" Type="http://schemas.openxmlformats.org/officeDocument/2006/relationships/image" Target="../media/image41.emf"/><Relationship Id="rId15" Type="http://schemas.openxmlformats.org/officeDocument/2006/relationships/image" Target="../media/image51.svg"/><Relationship Id="rId23" Type="http://schemas.openxmlformats.org/officeDocument/2006/relationships/image" Target="../media/image59.svg"/><Relationship Id="rId28" Type="http://schemas.openxmlformats.org/officeDocument/2006/relationships/image" Target="../media/image20.png"/><Relationship Id="rId10" Type="http://schemas.openxmlformats.org/officeDocument/2006/relationships/image" Target="../media/image46.png"/><Relationship Id="rId19" Type="http://schemas.openxmlformats.org/officeDocument/2006/relationships/image" Target="../media/image55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5.svg"/><Relationship Id="rId14" Type="http://schemas.openxmlformats.org/officeDocument/2006/relationships/image" Target="../media/image50.png"/><Relationship Id="rId22" Type="http://schemas.openxmlformats.org/officeDocument/2006/relationships/image" Target="../media/image58.png"/><Relationship Id="rId27" Type="http://schemas.openxmlformats.org/officeDocument/2006/relationships/image" Target="../media/image6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oogle Shape;2339;p62">
            <a:extLst>
              <a:ext uri="{FF2B5EF4-FFF2-40B4-BE49-F238E27FC236}">
                <a16:creationId xmlns:a16="http://schemas.microsoft.com/office/drawing/2014/main" id="{EB2D47C8-B163-4B3B-BC37-222578A82313}"/>
              </a:ext>
            </a:extLst>
          </p:cNvPr>
          <p:cNvCxnSpPr>
            <a:cxnSpLocks/>
          </p:cNvCxnSpPr>
          <p:nvPr/>
        </p:nvCxnSpPr>
        <p:spPr>
          <a:xfrm>
            <a:off x="10052050" y="4660789"/>
            <a:ext cx="0" cy="3360323"/>
          </a:xfrm>
          <a:prstGeom prst="straightConnector1">
            <a:avLst/>
          </a:prstGeom>
          <a:noFill/>
          <a:ln w="28575" cap="flat" cmpd="sng">
            <a:solidFill>
              <a:srgbClr val="7E6997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A07A362E-A2F9-F792-72E7-60B4958A51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9564" y="610853"/>
            <a:ext cx="3834079" cy="151373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C1603E2-7225-D631-0A5D-4EF9652B2B0C}"/>
              </a:ext>
            </a:extLst>
          </p:cNvPr>
          <p:cNvSpPr txBox="1"/>
          <p:nvPr/>
        </p:nvSpPr>
        <p:spPr>
          <a:xfrm>
            <a:off x="1530272" y="3761385"/>
            <a:ext cx="10058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2800">
                <a:solidFill>
                  <a:srgbClr val="3F9BC9"/>
                </a:solidFill>
                <a:ea typeface="Roboto Light" panose="02000000000000000000" pitchFamily="2" charset="0"/>
              </a:rPr>
              <a:t>With Speakers:</a:t>
            </a:r>
            <a:endParaRPr lang="en-US" sz="2800" i="0">
              <a:solidFill>
                <a:srgbClr val="3F9BC9"/>
              </a:solidFill>
              <a:effectLst/>
              <a:ea typeface="Roboto Light" panose="020000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319EF2E-A3E0-7DF1-ABA5-A7D1DBBD2944}"/>
              </a:ext>
            </a:extLst>
          </p:cNvPr>
          <p:cNvCxnSpPr>
            <a:cxnSpLocks/>
          </p:cNvCxnSpPr>
          <p:nvPr/>
        </p:nvCxnSpPr>
        <p:spPr>
          <a:xfrm>
            <a:off x="4478437" y="3336303"/>
            <a:ext cx="15625663" cy="0"/>
          </a:xfrm>
          <a:prstGeom prst="line">
            <a:avLst/>
          </a:prstGeom>
          <a:ln w="63500" cap="rnd">
            <a:solidFill>
              <a:srgbClr val="3F9BC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1A05EAE-9924-A096-762A-25AD3271E03A}"/>
              </a:ext>
            </a:extLst>
          </p:cNvPr>
          <p:cNvSpPr txBox="1">
            <a:spLocks/>
          </p:cNvSpPr>
          <p:nvPr/>
        </p:nvSpPr>
        <p:spPr>
          <a:xfrm>
            <a:off x="6985365" y="865541"/>
            <a:ext cx="16646996" cy="1446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sz="4000" b="1">
                <a:solidFill>
                  <a:srgbClr val="449BCC"/>
                </a:solidFill>
                <a:latin typeface="Comfortaa" pitchFamily="2" charset="0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5400" kern="0"/>
              <a:t>Deconstructing living income</a:t>
            </a:r>
          </a:p>
          <a:p>
            <a:r>
              <a:rPr lang="en-GB" kern="0"/>
              <a:t>Plenary</a:t>
            </a:r>
            <a:endParaRPr lang="en-GB" sz="4400" kern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19D8FE-B649-8745-B5DA-03209BD04D6F}"/>
              </a:ext>
            </a:extLst>
          </p:cNvPr>
          <p:cNvSpPr txBox="1"/>
          <p:nvPr/>
        </p:nvSpPr>
        <p:spPr>
          <a:xfrm>
            <a:off x="6985365" y="2538987"/>
            <a:ext cx="100584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3200" i="0" u="none" strike="noStrike">
                <a:solidFill>
                  <a:srgbClr val="3F9BC9"/>
                </a:solidFill>
                <a:effectLst/>
                <a:ea typeface="Roboto Light" panose="02000000000000000000" pitchFamily="2" charset="0"/>
              </a:rPr>
              <a:t>Wednesday 21 June</a:t>
            </a:r>
            <a:endParaRPr lang="en-US" sz="3200" i="0">
              <a:solidFill>
                <a:srgbClr val="3F9BC9"/>
              </a:solidFill>
              <a:effectLst/>
              <a:ea typeface="Roboto Light" panose="02000000000000000000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D910B85-2BBA-B52F-CF20-03E3206B260D}"/>
              </a:ext>
            </a:extLst>
          </p:cNvPr>
          <p:cNvGrpSpPr/>
          <p:nvPr/>
        </p:nvGrpSpPr>
        <p:grpSpPr>
          <a:xfrm>
            <a:off x="10768101" y="4522159"/>
            <a:ext cx="6026150" cy="5322657"/>
            <a:chOff x="481559" y="5778829"/>
            <a:chExt cx="5543342" cy="488870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E3DE34E-FD04-AF7B-A842-C650E29F40A6}"/>
                </a:ext>
              </a:extLst>
            </p:cNvPr>
            <p:cNvSpPr txBox="1"/>
            <p:nvPr/>
          </p:nvSpPr>
          <p:spPr>
            <a:xfrm>
              <a:off x="481559" y="9338920"/>
              <a:ext cx="5543342" cy="132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 fontAlgn="base">
                <a:spcBef>
                  <a:spcPts val="2400"/>
                </a:spcBef>
              </a:pPr>
              <a:r>
                <a:rPr lang="en-US" sz="3200" b="1">
                  <a:solidFill>
                    <a:srgbClr val="404040"/>
                  </a:solidFill>
                  <a:ea typeface="Roboto Bold" panose="02000000000000000000" pitchFamily="2" charset="0"/>
                </a:rPr>
                <a:t>Ashlee </a:t>
              </a:r>
              <a:r>
                <a:rPr lang="en-US" sz="3200" b="1" err="1">
                  <a:solidFill>
                    <a:srgbClr val="404040"/>
                  </a:solidFill>
                  <a:ea typeface="Roboto Bold" panose="02000000000000000000" pitchFamily="2" charset="0"/>
                </a:rPr>
                <a:t>Tuttleman</a:t>
              </a:r>
              <a:br>
                <a:rPr lang="en-US" sz="2800">
                  <a:solidFill>
                    <a:srgbClr val="404040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</a:br>
              <a:r>
                <a:rPr lang="en-US" sz="2800">
                  <a:solidFill>
                    <a:srgbClr val="404040"/>
                  </a:solidFill>
                  <a:ea typeface="Roboto Light" panose="02000000000000000000" pitchFamily="2" charset="0"/>
                </a:rPr>
                <a:t>Senior Innovation Manager, Smallholder Sourcing and Services</a:t>
              </a:r>
              <a:endParaRPr lang="en-US" sz="2800" u="none" strike="noStrike">
                <a:solidFill>
                  <a:srgbClr val="404040"/>
                </a:solidFill>
                <a:effectLst/>
                <a:latin typeface="Roboto Bold" panose="02000000000000000000" pitchFamily="2" charset="0"/>
                <a:ea typeface="Roboto Bold" panose="02000000000000000000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1FA5E2C-FCE8-0D1D-665E-94C10CBAFC76}"/>
                </a:ext>
              </a:extLst>
            </p:cNvPr>
            <p:cNvSpPr/>
            <p:nvPr/>
          </p:nvSpPr>
          <p:spPr>
            <a:xfrm>
              <a:off x="1776263" y="6247964"/>
              <a:ext cx="2657535" cy="2657535"/>
            </a:xfrm>
            <a:prstGeom prst="rect">
              <a:avLst/>
            </a:prstGeom>
            <a:gradFill>
              <a:gsLst>
                <a:gs pos="0">
                  <a:srgbClr val="3F9BC9"/>
                </a:gs>
                <a:gs pos="100000">
                  <a:srgbClr val="21968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68EF2D5-0B86-F8CC-E585-802A2E4CA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710" b="15710"/>
            <a:stretch/>
          </p:blipFill>
          <p:spPr>
            <a:xfrm>
              <a:off x="2503623" y="5778829"/>
              <a:ext cx="2455965" cy="2523629"/>
            </a:xfrm>
            <a:prstGeom prst="rect">
              <a:avLst/>
            </a:prstGeom>
            <a:ln w="152400">
              <a:solidFill>
                <a:srgbClr val="FFFFFF"/>
              </a:solidFill>
              <a:miter lim="800000"/>
            </a:ln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27830FD-0708-39BE-989E-AC6222ACFA72}"/>
              </a:ext>
            </a:extLst>
          </p:cNvPr>
          <p:cNvGrpSpPr/>
          <p:nvPr/>
        </p:nvGrpSpPr>
        <p:grpSpPr>
          <a:xfrm>
            <a:off x="2614944" y="4522158"/>
            <a:ext cx="6026150" cy="4891769"/>
            <a:chOff x="481559" y="5778829"/>
            <a:chExt cx="5543342" cy="449294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6470CD-F661-AEF3-C1C9-97D75D763106}"/>
                </a:ext>
              </a:extLst>
            </p:cNvPr>
            <p:cNvSpPr txBox="1"/>
            <p:nvPr/>
          </p:nvSpPr>
          <p:spPr>
            <a:xfrm>
              <a:off x="481559" y="9338920"/>
              <a:ext cx="5543342" cy="9328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 fontAlgn="base">
                <a:spcBef>
                  <a:spcPts val="2400"/>
                </a:spcBef>
              </a:pPr>
              <a:r>
                <a:rPr lang="en-US" sz="3200" b="1" err="1">
                  <a:solidFill>
                    <a:srgbClr val="404040"/>
                  </a:solidFill>
                  <a:ea typeface="Roboto Bold" panose="02000000000000000000" pitchFamily="2" charset="0"/>
                </a:rPr>
                <a:t>Antonie</a:t>
              </a:r>
              <a:r>
                <a:rPr lang="en-US" sz="3200" b="1">
                  <a:solidFill>
                    <a:srgbClr val="404040"/>
                  </a:solidFill>
                  <a:ea typeface="Roboto Bold" panose="02000000000000000000" pitchFamily="2" charset="0"/>
                </a:rPr>
                <a:t> Fountain</a:t>
              </a:r>
              <a:br>
                <a:rPr lang="en-US" sz="2800">
                  <a:solidFill>
                    <a:srgbClr val="404040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</a:br>
              <a:r>
                <a:rPr lang="en-US" sz="2800">
                  <a:solidFill>
                    <a:srgbClr val="404040"/>
                  </a:solidFill>
                  <a:ea typeface="Roboto Light" panose="02000000000000000000" pitchFamily="2" charset="0"/>
                </a:rPr>
                <a:t>Managing Director, VOICE Network</a:t>
              </a:r>
              <a:endParaRPr lang="en-US" sz="2800" u="none" strike="noStrike">
                <a:solidFill>
                  <a:srgbClr val="404040"/>
                </a:solidFill>
                <a:effectLst/>
                <a:latin typeface="Roboto Bold" panose="02000000000000000000" pitchFamily="2" charset="0"/>
                <a:ea typeface="Roboto Bold" panose="02000000000000000000" pitchFamily="2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04A0AD3-1A7A-13A4-D6DD-95F6C32949FA}"/>
                </a:ext>
              </a:extLst>
            </p:cNvPr>
            <p:cNvSpPr/>
            <p:nvPr/>
          </p:nvSpPr>
          <p:spPr>
            <a:xfrm>
              <a:off x="1776263" y="6247964"/>
              <a:ext cx="2657535" cy="2657535"/>
            </a:xfrm>
            <a:prstGeom prst="rect">
              <a:avLst/>
            </a:prstGeom>
            <a:gradFill>
              <a:gsLst>
                <a:gs pos="0">
                  <a:srgbClr val="3F9BC9"/>
                </a:gs>
                <a:gs pos="100000">
                  <a:srgbClr val="21968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9E11E2D-C3DC-5758-AB54-71B66890D6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10" r="17610"/>
            <a:stretch/>
          </p:blipFill>
          <p:spPr>
            <a:xfrm>
              <a:off x="2503623" y="5778829"/>
              <a:ext cx="2455965" cy="2523629"/>
            </a:xfrm>
            <a:prstGeom prst="rect">
              <a:avLst/>
            </a:prstGeom>
            <a:ln w="152400">
              <a:solidFill>
                <a:srgbClr val="FFFFFF"/>
              </a:solidFill>
              <a:miter lim="800000"/>
            </a:ln>
          </p:spPr>
        </p:pic>
      </p:grpSp>
    </p:spTree>
    <p:extLst>
      <p:ext uri="{BB962C8B-B14F-4D97-AF65-F5344CB8AC3E}">
        <p14:creationId xmlns:p14="http://schemas.microsoft.com/office/powerpoint/2010/main" val="824739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AE14C653-292C-EBBD-D20C-E07DE2ED3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1836" y="906130"/>
            <a:ext cx="16745907" cy="724803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Better income means </a:t>
            </a:r>
            <a:r>
              <a:rPr lang="en-GB"/>
              <a:t>being able to earn… </a:t>
            </a:r>
          </a:p>
        </p:txBody>
      </p:sp>
      <p:sp>
        <p:nvSpPr>
          <p:cNvPr id="16" name="Graphic 48">
            <a:extLst>
              <a:ext uri="{FF2B5EF4-FFF2-40B4-BE49-F238E27FC236}">
                <a16:creationId xmlns:a16="http://schemas.microsoft.com/office/drawing/2014/main" id="{2370FB4E-DA1F-0EB1-9F8F-AE998964BF81}"/>
              </a:ext>
            </a:extLst>
          </p:cNvPr>
          <p:cNvSpPr/>
          <p:nvPr/>
        </p:nvSpPr>
        <p:spPr>
          <a:xfrm>
            <a:off x="2856454" y="2995625"/>
            <a:ext cx="1710771" cy="1593974"/>
          </a:xfrm>
          <a:custGeom>
            <a:avLst/>
            <a:gdLst>
              <a:gd name="connsiteX0" fmla="*/ 1070344 w 1189060"/>
              <a:gd name="connsiteY0" fmla="*/ 868013 h 1107882"/>
              <a:gd name="connsiteX1" fmla="*/ 469749 w 1189060"/>
              <a:gd name="connsiteY1" fmla="*/ 1107567 h 1107882"/>
              <a:gd name="connsiteX2" fmla="*/ 46424 w 1189060"/>
              <a:gd name="connsiteY2" fmla="*/ 845915 h 1107882"/>
              <a:gd name="connsiteX3" fmla="*/ 119284 w 1189060"/>
              <a:gd name="connsiteY3" fmla="*/ 190976 h 1107882"/>
              <a:gd name="connsiteX4" fmla="*/ 511437 w 1189060"/>
              <a:gd name="connsiteY4" fmla="*/ 0 h 1107882"/>
              <a:gd name="connsiteX5" fmla="*/ 665779 w 1189060"/>
              <a:gd name="connsiteY5" fmla="*/ 19050 h 1107882"/>
              <a:gd name="connsiteX6" fmla="*/ 1186029 w 1189060"/>
              <a:gd name="connsiteY6" fmla="*/ 521303 h 1107882"/>
              <a:gd name="connsiteX7" fmla="*/ 1070344 w 1189060"/>
              <a:gd name="connsiteY7" fmla="*/ 868013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1070344" y="868013"/>
                </a:move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</a:path>
            </a:pathLst>
          </a:custGeom>
          <a:solidFill>
            <a:schemeClr val="bg1"/>
          </a:solidFill>
          <a:ln w="944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A832A92B-453A-990D-27AB-6FB0484B53BB}"/>
              </a:ext>
            </a:extLst>
          </p:cNvPr>
          <p:cNvSpPr txBox="1"/>
          <p:nvPr/>
        </p:nvSpPr>
        <p:spPr>
          <a:xfrm>
            <a:off x="1113006" y="4836138"/>
            <a:ext cx="5197670" cy="130941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...</a:t>
            </a:r>
            <a:r>
              <a:rPr lang="en-GB" sz="2638" b="1">
                <a:solidFill>
                  <a:schemeClr val="accent2"/>
                </a:solidFill>
                <a:cs typeface="Arial" panose="020B0604020202020204" pitchFamily="34" charset="0"/>
              </a:rPr>
              <a:t>more income </a:t>
            </a:r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for women and men to be able to alleviate poverty </a:t>
            </a:r>
            <a:r>
              <a:rPr lang="en-GB" sz="2638" b="1">
                <a:solidFill>
                  <a:schemeClr val="accent2"/>
                </a:solidFill>
                <a:cs typeface="Arial" panose="020B0604020202020204" pitchFamily="34" charset="0"/>
              </a:rPr>
              <a:t>towards and beyond a living income</a:t>
            </a:r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. </a:t>
            </a:r>
          </a:p>
        </p:txBody>
      </p:sp>
      <p:sp>
        <p:nvSpPr>
          <p:cNvPr id="20" name="Graphic 48">
            <a:extLst>
              <a:ext uri="{FF2B5EF4-FFF2-40B4-BE49-F238E27FC236}">
                <a16:creationId xmlns:a16="http://schemas.microsoft.com/office/drawing/2014/main" id="{FA9DDEEB-7B66-B6EE-2DE5-CE4EBD16064C}"/>
              </a:ext>
            </a:extLst>
          </p:cNvPr>
          <p:cNvSpPr/>
          <p:nvPr/>
        </p:nvSpPr>
        <p:spPr>
          <a:xfrm rot="19800000">
            <a:off x="8793362" y="2995625"/>
            <a:ext cx="1710771" cy="1593974"/>
          </a:xfrm>
          <a:custGeom>
            <a:avLst/>
            <a:gdLst>
              <a:gd name="connsiteX0" fmla="*/ 1070344 w 1189060"/>
              <a:gd name="connsiteY0" fmla="*/ 868013 h 1107882"/>
              <a:gd name="connsiteX1" fmla="*/ 469749 w 1189060"/>
              <a:gd name="connsiteY1" fmla="*/ 1107567 h 1107882"/>
              <a:gd name="connsiteX2" fmla="*/ 46424 w 1189060"/>
              <a:gd name="connsiteY2" fmla="*/ 845915 h 1107882"/>
              <a:gd name="connsiteX3" fmla="*/ 119284 w 1189060"/>
              <a:gd name="connsiteY3" fmla="*/ 190976 h 1107882"/>
              <a:gd name="connsiteX4" fmla="*/ 511437 w 1189060"/>
              <a:gd name="connsiteY4" fmla="*/ 0 h 1107882"/>
              <a:gd name="connsiteX5" fmla="*/ 665779 w 1189060"/>
              <a:gd name="connsiteY5" fmla="*/ 19050 h 1107882"/>
              <a:gd name="connsiteX6" fmla="*/ 1186029 w 1189060"/>
              <a:gd name="connsiteY6" fmla="*/ 521303 h 1107882"/>
              <a:gd name="connsiteX7" fmla="*/ 1070344 w 1189060"/>
              <a:gd name="connsiteY7" fmla="*/ 868013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1070344" y="868013"/>
                </a:move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</a:path>
            </a:pathLst>
          </a:custGeom>
          <a:solidFill>
            <a:schemeClr val="bg1"/>
          </a:solidFill>
          <a:ln w="944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F6BCC968-A823-8BF8-098F-EB0DC65CE557}"/>
              </a:ext>
            </a:extLst>
          </p:cNvPr>
          <p:cNvSpPr txBox="1"/>
          <p:nvPr/>
        </p:nvSpPr>
        <p:spPr>
          <a:xfrm>
            <a:off x="7049914" y="4836138"/>
            <a:ext cx="5197670" cy="130941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... a </a:t>
            </a:r>
            <a:r>
              <a:rPr lang="en-GB" sz="2638" b="1">
                <a:solidFill>
                  <a:schemeClr val="accent2"/>
                </a:solidFill>
                <a:cs typeface="Arial" panose="020B0604020202020204" pitchFamily="34" charset="0"/>
              </a:rPr>
              <a:t>stable income </a:t>
            </a:r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to be resilient against shocks and other risks throughout and over the years.</a:t>
            </a:r>
          </a:p>
        </p:txBody>
      </p:sp>
      <p:sp>
        <p:nvSpPr>
          <p:cNvPr id="23" name="Graphic 48">
            <a:extLst>
              <a:ext uri="{FF2B5EF4-FFF2-40B4-BE49-F238E27FC236}">
                <a16:creationId xmlns:a16="http://schemas.microsoft.com/office/drawing/2014/main" id="{57D64053-8401-E3C1-8144-3BE6BD438747}"/>
              </a:ext>
            </a:extLst>
          </p:cNvPr>
          <p:cNvSpPr/>
          <p:nvPr/>
        </p:nvSpPr>
        <p:spPr>
          <a:xfrm rot="12600000">
            <a:off x="15276026" y="2995625"/>
            <a:ext cx="1710771" cy="1593974"/>
          </a:xfrm>
          <a:custGeom>
            <a:avLst/>
            <a:gdLst>
              <a:gd name="connsiteX0" fmla="*/ 1070344 w 1189060"/>
              <a:gd name="connsiteY0" fmla="*/ 868013 h 1107882"/>
              <a:gd name="connsiteX1" fmla="*/ 469749 w 1189060"/>
              <a:gd name="connsiteY1" fmla="*/ 1107567 h 1107882"/>
              <a:gd name="connsiteX2" fmla="*/ 46424 w 1189060"/>
              <a:gd name="connsiteY2" fmla="*/ 845915 h 1107882"/>
              <a:gd name="connsiteX3" fmla="*/ 119284 w 1189060"/>
              <a:gd name="connsiteY3" fmla="*/ 190976 h 1107882"/>
              <a:gd name="connsiteX4" fmla="*/ 511437 w 1189060"/>
              <a:gd name="connsiteY4" fmla="*/ 0 h 1107882"/>
              <a:gd name="connsiteX5" fmla="*/ 665779 w 1189060"/>
              <a:gd name="connsiteY5" fmla="*/ 19050 h 1107882"/>
              <a:gd name="connsiteX6" fmla="*/ 1186029 w 1189060"/>
              <a:gd name="connsiteY6" fmla="*/ 521303 h 1107882"/>
              <a:gd name="connsiteX7" fmla="*/ 1070344 w 1189060"/>
              <a:gd name="connsiteY7" fmla="*/ 868013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1070344" y="868013"/>
                </a:move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</a:path>
            </a:pathLst>
          </a:custGeom>
          <a:solidFill>
            <a:schemeClr val="bg1"/>
          </a:solidFill>
          <a:ln w="944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529CAAF7-BD3E-DE0E-09B8-DAAC4D488D1D}"/>
              </a:ext>
            </a:extLst>
          </p:cNvPr>
          <p:cNvSpPr txBox="1"/>
          <p:nvPr/>
        </p:nvSpPr>
        <p:spPr>
          <a:xfrm>
            <a:off x="12986820" y="4836139"/>
            <a:ext cx="6289180" cy="247994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...an </a:t>
            </a:r>
            <a:r>
              <a:rPr lang="en-GB" sz="2638" b="1">
                <a:solidFill>
                  <a:schemeClr val="accent2"/>
                </a:solidFill>
                <a:cs typeface="Arial" panose="020B0604020202020204" pitchFamily="34" charset="0"/>
              </a:rPr>
              <a:t>equitable income</a:t>
            </a:r>
            <a:r>
              <a:rPr lang="en-GB" sz="2638">
                <a:solidFill>
                  <a:schemeClr val="bg1"/>
                </a:solidFill>
                <a:cs typeface="Arial" panose="020B0604020202020204" pitchFamily="34" charset="0"/>
              </a:rPr>
              <a:t>, to ensure that men, women and youth have equal chances on a better income while not harming the environment, local communities and generations to come.</a:t>
            </a:r>
          </a:p>
        </p:txBody>
      </p:sp>
      <p:grpSp>
        <p:nvGrpSpPr>
          <p:cNvPr id="28" name="Groep 27">
            <a:extLst>
              <a:ext uri="{FF2B5EF4-FFF2-40B4-BE49-F238E27FC236}">
                <a16:creationId xmlns:a16="http://schemas.microsoft.com/office/drawing/2014/main" id="{6A253EBC-8256-B3F1-C044-11F06286D2CF}"/>
              </a:ext>
            </a:extLst>
          </p:cNvPr>
          <p:cNvGrpSpPr/>
          <p:nvPr/>
        </p:nvGrpSpPr>
        <p:grpSpPr>
          <a:xfrm>
            <a:off x="3191149" y="3307969"/>
            <a:ext cx="882669" cy="882669"/>
            <a:chOff x="1846659" y="2143509"/>
            <a:chExt cx="712470" cy="712470"/>
          </a:xfrm>
        </p:grpSpPr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64679C30-BC71-958C-07EB-EC0B9CF26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46659" y="2143509"/>
              <a:ext cx="712470" cy="712470"/>
            </a:xfrm>
            <a:prstGeom prst="rect">
              <a:avLst/>
            </a:prstGeom>
          </p:spPr>
        </p:pic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FE098535-B8C2-829C-F4B2-B7F58737AD3F}"/>
                </a:ext>
              </a:extLst>
            </p:cNvPr>
            <p:cNvSpPr/>
            <p:nvPr/>
          </p:nvSpPr>
          <p:spPr>
            <a:xfrm>
              <a:off x="2228852" y="2228851"/>
              <a:ext cx="219074" cy="21907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968"/>
            </a:p>
          </p:txBody>
        </p:sp>
        <p:sp>
          <p:nvSpPr>
            <p:cNvPr id="27" name="Plusteken 26">
              <a:extLst>
                <a:ext uri="{FF2B5EF4-FFF2-40B4-BE49-F238E27FC236}">
                  <a16:creationId xmlns:a16="http://schemas.microsoft.com/office/drawing/2014/main" id="{DB4BFC1A-A771-EBDA-9734-C59E424EC53C}"/>
                </a:ext>
              </a:extLst>
            </p:cNvPr>
            <p:cNvSpPr/>
            <p:nvPr/>
          </p:nvSpPr>
          <p:spPr>
            <a:xfrm>
              <a:off x="2241949" y="2241948"/>
              <a:ext cx="192881" cy="192881"/>
            </a:xfrm>
            <a:prstGeom prst="mathPlus">
              <a:avLst>
                <a:gd name="adj1" fmla="val 1381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968"/>
            </a:p>
          </p:txBody>
        </p:sp>
      </p:grpSp>
      <p:pic>
        <p:nvPicPr>
          <p:cNvPr id="40" name="Graphic 39">
            <a:extLst>
              <a:ext uri="{FF2B5EF4-FFF2-40B4-BE49-F238E27FC236}">
                <a16:creationId xmlns:a16="http://schemas.microsoft.com/office/drawing/2014/main" id="{703487B4-F031-35F6-A88E-FE4FE13A6C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47030" y="3413171"/>
            <a:ext cx="603438" cy="603438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9BB6A25D-BEDE-BEE5-2399-E85CD935CA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857762" y="3472331"/>
            <a:ext cx="640561" cy="640561"/>
          </a:xfrm>
          <a:prstGeom prst="rect">
            <a:avLst/>
          </a:prstGeom>
        </p:spPr>
      </p:pic>
      <p:sp>
        <p:nvSpPr>
          <p:cNvPr id="45" name="Rectangle 140">
            <a:extLst>
              <a:ext uri="{FF2B5EF4-FFF2-40B4-BE49-F238E27FC236}">
                <a16:creationId xmlns:a16="http://schemas.microsoft.com/office/drawing/2014/main" id="{79961619-A539-A67C-B40F-DEC539D3585C}"/>
              </a:ext>
            </a:extLst>
          </p:cNvPr>
          <p:cNvSpPr/>
          <p:nvPr/>
        </p:nvSpPr>
        <p:spPr>
          <a:xfrm>
            <a:off x="2627226" y="8289259"/>
            <a:ext cx="2258727" cy="701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507846">
              <a:defRPr/>
            </a:pPr>
            <a:r>
              <a:rPr lang="en-GB" sz="1979" b="1">
                <a:solidFill>
                  <a:schemeClr val="accent2"/>
                </a:solidFill>
              </a:rPr>
              <a:t>With this in mind, we target:</a:t>
            </a:r>
          </a:p>
        </p:txBody>
      </p:sp>
      <p:sp>
        <p:nvSpPr>
          <p:cNvPr id="46" name="Rectangle 141">
            <a:extLst>
              <a:ext uri="{FF2B5EF4-FFF2-40B4-BE49-F238E27FC236}">
                <a16:creationId xmlns:a16="http://schemas.microsoft.com/office/drawing/2014/main" id="{FBB26377-E21E-F65A-6136-4EC5B2C7EE0B}"/>
              </a:ext>
            </a:extLst>
          </p:cNvPr>
          <p:cNvSpPr/>
          <p:nvPr/>
        </p:nvSpPr>
        <p:spPr>
          <a:xfrm>
            <a:off x="5439067" y="8228385"/>
            <a:ext cx="12443490" cy="100604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1507846">
              <a:defRPr/>
            </a:pPr>
            <a:r>
              <a:rPr lang="en-GB" sz="1979" b="1">
                <a:solidFill>
                  <a:schemeClr val="accent2"/>
                </a:solidFill>
              </a:rPr>
              <a:t>Farmers</a:t>
            </a:r>
            <a:r>
              <a:rPr lang="en-GB" sz="1979" b="1">
                <a:solidFill>
                  <a:schemeClr val="bg1"/>
                </a:solidFill>
              </a:rPr>
              <a:t> </a:t>
            </a:r>
            <a:r>
              <a:rPr lang="en-GB" sz="1979">
                <a:solidFill>
                  <a:schemeClr val="bg1"/>
                </a:solidFill>
              </a:rPr>
              <a:t>and/or </a:t>
            </a:r>
            <a:r>
              <a:rPr lang="en-GB" sz="1979" b="1">
                <a:solidFill>
                  <a:schemeClr val="accent2"/>
                </a:solidFill>
              </a:rPr>
              <a:t>farming households </a:t>
            </a:r>
            <a:r>
              <a:rPr lang="en-GB" sz="1979">
                <a:solidFill>
                  <a:schemeClr val="bg1"/>
                </a:solidFill>
              </a:rPr>
              <a:t>(women and men) – mostly </a:t>
            </a:r>
            <a:r>
              <a:rPr lang="en-GB" sz="1979" b="1">
                <a:solidFill>
                  <a:schemeClr val="accent2"/>
                </a:solidFill>
              </a:rPr>
              <a:t>smallholder</a:t>
            </a:r>
            <a:r>
              <a:rPr lang="en-GB" sz="1979">
                <a:solidFill>
                  <a:schemeClr val="bg1"/>
                </a:solidFill>
              </a:rPr>
              <a:t> - that are ultimately responsible for the farm. This means they bare all costs and risk related to the farming operations and expect to earn from the fruits of their labour.</a:t>
            </a:r>
          </a:p>
        </p:txBody>
      </p:sp>
      <p:cxnSp>
        <p:nvCxnSpPr>
          <p:cNvPr id="53" name="Rechte verbindingslijn 52">
            <a:extLst>
              <a:ext uri="{FF2B5EF4-FFF2-40B4-BE49-F238E27FC236}">
                <a16:creationId xmlns:a16="http://schemas.microsoft.com/office/drawing/2014/main" id="{E77B9636-08F9-F5EF-7B9C-822D1796620A}"/>
              </a:ext>
            </a:extLst>
          </p:cNvPr>
          <p:cNvCxnSpPr/>
          <p:nvPr/>
        </p:nvCxnSpPr>
        <p:spPr>
          <a:xfrm>
            <a:off x="5184638" y="8097402"/>
            <a:ext cx="0" cy="119675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ep 5">
            <a:extLst>
              <a:ext uri="{FF2B5EF4-FFF2-40B4-BE49-F238E27FC236}">
                <a16:creationId xmlns:a16="http://schemas.microsoft.com/office/drawing/2014/main" id="{3854369A-A70F-5726-84AB-5B33B66586FA}"/>
              </a:ext>
            </a:extLst>
          </p:cNvPr>
          <p:cNvGrpSpPr/>
          <p:nvPr/>
        </p:nvGrpSpPr>
        <p:grpSpPr>
          <a:xfrm>
            <a:off x="1073263" y="700589"/>
            <a:ext cx="1004446" cy="1078046"/>
            <a:chOff x="6810872" y="1480537"/>
            <a:chExt cx="878777" cy="943169"/>
          </a:xfrm>
        </p:grpSpPr>
        <p:sp>
          <p:nvSpPr>
            <p:cNvPr id="7" name="Graphic 48">
              <a:extLst>
                <a:ext uri="{FF2B5EF4-FFF2-40B4-BE49-F238E27FC236}">
                  <a16:creationId xmlns:a16="http://schemas.microsoft.com/office/drawing/2014/main" id="{AFF2265D-18EB-7A35-6B29-B179D3DC9F23}"/>
                </a:ext>
              </a:extLst>
            </p:cNvPr>
            <p:cNvSpPr/>
            <p:nvPr/>
          </p:nvSpPr>
          <p:spPr>
            <a:xfrm rot="6300000">
              <a:off x="6778676" y="1512733"/>
              <a:ext cx="943169" cy="878777"/>
            </a:xfrm>
            <a:custGeom>
              <a:avLst/>
              <a:gdLst>
                <a:gd name="connsiteX0" fmla="*/ 1070344 w 1189060"/>
                <a:gd name="connsiteY0" fmla="*/ 868013 h 1107882"/>
                <a:gd name="connsiteX1" fmla="*/ 469749 w 1189060"/>
                <a:gd name="connsiteY1" fmla="*/ 1107567 h 1107882"/>
                <a:gd name="connsiteX2" fmla="*/ 46424 w 1189060"/>
                <a:gd name="connsiteY2" fmla="*/ 845915 h 1107882"/>
                <a:gd name="connsiteX3" fmla="*/ 119284 w 1189060"/>
                <a:gd name="connsiteY3" fmla="*/ 190976 h 1107882"/>
                <a:gd name="connsiteX4" fmla="*/ 511437 w 1189060"/>
                <a:gd name="connsiteY4" fmla="*/ 0 h 1107882"/>
                <a:gd name="connsiteX5" fmla="*/ 665779 w 1189060"/>
                <a:gd name="connsiteY5" fmla="*/ 19050 h 1107882"/>
                <a:gd name="connsiteX6" fmla="*/ 1186029 w 1189060"/>
                <a:gd name="connsiteY6" fmla="*/ 521303 h 1107882"/>
                <a:gd name="connsiteX7" fmla="*/ 1070344 w 1189060"/>
                <a:gd name="connsiteY7" fmla="*/ 868013 h 110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9060" h="1107882">
                  <a:moveTo>
                    <a:pt x="1070344" y="868013"/>
                  </a:moveTo>
                  <a:cubicBezTo>
                    <a:pt x="934668" y="1017556"/>
                    <a:pt x="692781" y="1114139"/>
                    <a:pt x="469749" y="1107567"/>
                  </a:cubicBezTo>
                  <a:cubicBezTo>
                    <a:pt x="272109" y="1104329"/>
                    <a:pt x="105924" y="1001649"/>
                    <a:pt x="46424" y="845915"/>
                  </a:cubicBezTo>
                  <a:cubicBezTo>
                    <a:pt x="-36289" y="631412"/>
                    <a:pt x="-6350" y="362045"/>
                    <a:pt x="119284" y="190976"/>
                  </a:cubicBezTo>
                  <a:cubicBezTo>
                    <a:pt x="212419" y="66104"/>
                    <a:pt x="350748" y="0"/>
                    <a:pt x="511437" y="0"/>
                  </a:cubicBezTo>
                  <a:cubicBezTo>
                    <a:pt x="560990" y="0"/>
                    <a:pt x="612626" y="6287"/>
                    <a:pt x="665779" y="19050"/>
                  </a:cubicBezTo>
                  <a:cubicBezTo>
                    <a:pt x="931068" y="82868"/>
                    <a:pt x="1144909" y="289370"/>
                    <a:pt x="1186029" y="521303"/>
                  </a:cubicBezTo>
                  <a:cubicBezTo>
                    <a:pt x="1200904" y="648367"/>
                    <a:pt x="1160827" y="768287"/>
                    <a:pt x="1070344" y="868013"/>
                  </a:cubicBezTo>
                </a:path>
              </a:pathLst>
            </a:custGeom>
            <a:noFill/>
            <a:ln w="9449" cap="flat">
              <a:solidFill>
                <a:schemeClr val="accent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CAA9A130-1177-B7DF-6062-928BCD7C14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030923" y="1691841"/>
              <a:ext cx="438674" cy="438674"/>
            </a:xfrm>
            <a:prstGeom prst="rect">
              <a:avLst/>
            </a:prstGeom>
          </p:spPr>
        </p:pic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014B6C6-199A-3350-7678-31E95837C8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220663" y="217306"/>
            <a:ext cx="1598411" cy="59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4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20" grpId="0" animBg="1"/>
      <p:bldP spid="21" grpId="0"/>
      <p:bldP spid="23" grpId="0" animBg="1"/>
      <p:bldP spid="24" grpId="0"/>
      <p:bldP spid="45" grpId="0"/>
      <p:bldP spid="4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DA1B526-EF39-A927-BF8B-A7816E8FD2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100000"/>
              </a:lnSpc>
              <a:spcBef>
                <a:spcPts val="989"/>
              </a:spcBef>
              <a:spcAft>
                <a:spcPts val="989"/>
              </a:spcAft>
            </a:pPr>
            <a:r>
              <a:rPr lang="en-GB" sz="7915"/>
              <a:t>How much is “more” income?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7550195-B79F-869B-E39C-D9A4482860E2}"/>
              </a:ext>
            </a:extLst>
          </p:cNvPr>
          <p:cNvGrpSpPr/>
          <p:nvPr/>
        </p:nvGrpSpPr>
        <p:grpSpPr>
          <a:xfrm>
            <a:off x="2846199" y="2314462"/>
            <a:ext cx="14269161" cy="8088758"/>
            <a:chOff x="4243804" y="1403350"/>
            <a:chExt cx="7274257" cy="4358616"/>
          </a:xfrm>
        </p:grpSpPr>
        <p:sp>
          <p:nvSpPr>
            <p:cNvPr id="94" name="Vrije vorm: vorm 93">
              <a:extLst>
                <a:ext uri="{FF2B5EF4-FFF2-40B4-BE49-F238E27FC236}">
                  <a16:creationId xmlns:a16="http://schemas.microsoft.com/office/drawing/2014/main" id="{4B018A86-C8B0-3E49-938E-47696B4F5A3A}"/>
                </a:ext>
              </a:extLst>
            </p:cNvPr>
            <p:cNvSpPr/>
            <p:nvPr/>
          </p:nvSpPr>
          <p:spPr>
            <a:xfrm flipV="1">
              <a:off x="10213485" y="1403350"/>
              <a:ext cx="1194989" cy="950452"/>
            </a:xfrm>
            <a:custGeom>
              <a:avLst/>
              <a:gdLst>
                <a:gd name="connsiteX0" fmla="*/ 69116 w 799457"/>
                <a:gd name="connsiteY0" fmla="*/ 194205 h 635860"/>
                <a:gd name="connsiteX1" fmla="*/ 63343 w 799457"/>
                <a:gd name="connsiteY1" fmla="*/ 168952 h 635860"/>
                <a:gd name="connsiteX2" fmla="*/ 121358 w 799457"/>
                <a:gd name="connsiteY2" fmla="*/ 110937 h 635860"/>
                <a:gd name="connsiteX3" fmla="*/ 134827 w 799457"/>
                <a:gd name="connsiteY3" fmla="*/ 112525 h 635860"/>
                <a:gd name="connsiteX4" fmla="*/ 179373 w 799457"/>
                <a:gd name="connsiteY4" fmla="*/ 69195 h 635860"/>
                <a:gd name="connsiteX5" fmla="*/ 207537 w 799457"/>
                <a:gd name="connsiteY5" fmla="*/ 79224 h 635860"/>
                <a:gd name="connsiteX6" fmla="*/ 251649 w 799457"/>
                <a:gd name="connsiteY6" fmla="*/ 41053 h 635860"/>
                <a:gd name="connsiteX7" fmla="*/ 270268 w 799457"/>
                <a:gd name="connsiteY7" fmla="*/ 45129 h 635860"/>
                <a:gd name="connsiteX8" fmla="*/ 332109 w 799457"/>
                <a:gd name="connsiteY8" fmla="*/ 185 h 635860"/>
                <a:gd name="connsiteX9" fmla="*/ 392511 w 799457"/>
                <a:gd name="connsiteY9" fmla="*/ 41159 h 635860"/>
                <a:gd name="connsiteX10" fmla="*/ 429279 w 799457"/>
                <a:gd name="connsiteY10" fmla="*/ 21781 h 635860"/>
                <a:gd name="connsiteX11" fmla="*/ 466592 w 799457"/>
                <a:gd name="connsiteY11" fmla="*/ 41980 h 635860"/>
                <a:gd name="connsiteX12" fmla="*/ 509538 w 799457"/>
                <a:gd name="connsiteY12" fmla="*/ 9345 h 635860"/>
                <a:gd name="connsiteX13" fmla="*/ 553809 w 799457"/>
                <a:gd name="connsiteY13" fmla="*/ 48761 h 635860"/>
                <a:gd name="connsiteX14" fmla="*/ 608898 w 799457"/>
                <a:gd name="connsiteY14" fmla="*/ 24617 h 635860"/>
                <a:gd name="connsiteX15" fmla="*/ 683853 w 799457"/>
                <a:gd name="connsiteY15" fmla="*/ 99572 h 635860"/>
                <a:gd name="connsiteX16" fmla="*/ 681803 w 799457"/>
                <a:gd name="connsiteY16" fmla="*/ 116963 h 635860"/>
                <a:gd name="connsiteX17" fmla="*/ 704175 w 799457"/>
                <a:gd name="connsiteY17" fmla="*/ 110937 h 635860"/>
                <a:gd name="connsiteX18" fmla="*/ 748752 w 799457"/>
                <a:gd name="connsiteY18" fmla="*/ 155514 h 635860"/>
                <a:gd name="connsiteX19" fmla="*/ 737299 w 799457"/>
                <a:gd name="connsiteY19" fmla="*/ 185341 h 635860"/>
                <a:gd name="connsiteX20" fmla="*/ 799595 w 799457"/>
                <a:gd name="connsiteY20" fmla="*/ 259209 h 635860"/>
                <a:gd name="connsiteX21" fmla="*/ 724640 w 799457"/>
                <a:gd name="connsiteY21" fmla="*/ 334164 h 635860"/>
                <a:gd name="connsiteX22" fmla="*/ 718369 w 799457"/>
                <a:gd name="connsiteY22" fmla="*/ 333883 h 635860"/>
                <a:gd name="connsiteX23" fmla="*/ 718376 w 799457"/>
                <a:gd name="connsiteY23" fmla="*/ 334164 h 635860"/>
                <a:gd name="connsiteX24" fmla="*/ 673798 w 799457"/>
                <a:gd name="connsiteY24" fmla="*/ 378741 h 635860"/>
                <a:gd name="connsiteX25" fmla="*/ 639099 w 799457"/>
                <a:gd name="connsiteY25" fmla="*/ 362136 h 635860"/>
                <a:gd name="connsiteX26" fmla="*/ 639123 w 799457"/>
                <a:gd name="connsiteY26" fmla="*/ 363126 h 635860"/>
                <a:gd name="connsiteX27" fmla="*/ 594546 w 799457"/>
                <a:gd name="connsiteY27" fmla="*/ 407703 h 635860"/>
                <a:gd name="connsiteX28" fmla="*/ 559988 w 799457"/>
                <a:gd name="connsiteY28" fmla="*/ 391278 h 635860"/>
                <a:gd name="connsiteX29" fmla="*/ 560010 w 799457"/>
                <a:gd name="connsiteY29" fmla="*/ 392177 h 635860"/>
                <a:gd name="connsiteX30" fmla="*/ 524231 w 799457"/>
                <a:gd name="connsiteY30" fmla="*/ 445772 h 635860"/>
                <a:gd name="connsiteX31" fmla="*/ 533944 w 799457"/>
                <a:gd name="connsiteY31" fmla="*/ 482656 h 635860"/>
                <a:gd name="connsiteX32" fmla="*/ 458991 w 799457"/>
                <a:gd name="connsiteY32" fmla="*/ 557612 h 635860"/>
                <a:gd name="connsiteX33" fmla="*/ 420115 w 799457"/>
                <a:gd name="connsiteY33" fmla="*/ 546754 h 635860"/>
                <a:gd name="connsiteX34" fmla="*/ 429279 w 799457"/>
                <a:gd name="connsiteY34" fmla="*/ 578030 h 635860"/>
                <a:gd name="connsiteX35" fmla="*/ 371264 w 799457"/>
                <a:gd name="connsiteY35" fmla="*/ 636045 h 635860"/>
                <a:gd name="connsiteX36" fmla="*/ 320996 w 799457"/>
                <a:gd name="connsiteY36" fmla="*/ 606977 h 635860"/>
                <a:gd name="connsiteX37" fmla="*/ 296226 w 799457"/>
                <a:gd name="connsiteY37" fmla="*/ 614490 h 635860"/>
                <a:gd name="connsiteX38" fmla="*/ 251649 w 799457"/>
                <a:gd name="connsiteY38" fmla="*/ 569913 h 635860"/>
                <a:gd name="connsiteX39" fmla="*/ 251699 w 799457"/>
                <a:gd name="connsiteY39" fmla="*/ 567912 h 635860"/>
                <a:gd name="connsiteX40" fmla="*/ 206839 w 799457"/>
                <a:gd name="connsiteY40" fmla="*/ 585019 h 635860"/>
                <a:gd name="connsiteX41" fmla="*/ 139425 w 799457"/>
                <a:gd name="connsiteY41" fmla="*/ 517607 h 635860"/>
                <a:gd name="connsiteX42" fmla="*/ 140634 w 799457"/>
                <a:gd name="connsiteY42" fmla="*/ 504915 h 635860"/>
                <a:gd name="connsiteX43" fmla="*/ 121358 w 799457"/>
                <a:gd name="connsiteY43" fmla="*/ 508207 h 635860"/>
                <a:gd name="connsiteX44" fmla="*/ 63343 w 799457"/>
                <a:gd name="connsiteY44" fmla="*/ 450192 h 635860"/>
                <a:gd name="connsiteX45" fmla="*/ 73292 w 799457"/>
                <a:gd name="connsiteY45" fmla="*/ 417700 h 635860"/>
                <a:gd name="connsiteX46" fmla="*/ 63343 w 799457"/>
                <a:gd name="connsiteY46" fmla="*/ 418829 h 635860"/>
                <a:gd name="connsiteX47" fmla="*/ 18766 w 799457"/>
                <a:gd name="connsiteY47" fmla="*/ 374250 h 635860"/>
                <a:gd name="connsiteX48" fmla="*/ 41034 w 799457"/>
                <a:gd name="connsiteY48" fmla="*/ 335664 h 635860"/>
                <a:gd name="connsiteX49" fmla="*/ 138 w 799457"/>
                <a:gd name="connsiteY49" fmla="*/ 268901 h 635860"/>
                <a:gd name="connsiteX50" fmla="*/ 69116 w 799457"/>
                <a:gd name="connsiteY50" fmla="*/ 194205 h 635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9457" h="635860">
                  <a:moveTo>
                    <a:pt x="69116" y="194205"/>
                  </a:moveTo>
                  <a:cubicBezTo>
                    <a:pt x="65419" y="186570"/>
                    <a:pt x="63343" y="178003"/>
                    <a:pt x="63343" y="168952"/>
                  </a:cubicBezTo>
                  <a:cubicBezTo>
                    <a:pt x="63343" y="136911"/>
                    <a:pt x="89318" y="110937"/>
                    <a:pt x="121358" y="110937"/>
                  </a:cubicBezTo>
                  <a:cubicBezTo>
                    <a:pt x="125997" y="110937"/>
                    <a:pt x="130502" y="111498"/>
                    <a:pt x="134827" y="112525"/>
                  </a:cubicBezTo>
                  <a:cubicBezTo>
                    <a:pt x="135489" y="88485"/>
                    <a:pt x="155172" y="69195"/>
                    <a:pt x="179373" y="69195"/>
                  </a:cubicBezTo>
                  <a:cubicBezTo>
                    <a:pt x="190055" y="69195"/>
                    <a:pt x="199858" y="72958"/>
                    <a:pt x="207537" y="79224"/>
                  </a:cubicBezTo>
                  <a:cubicBezTo>
                    <a:pt x="210644" y="57642"/>
                    <a:pt x="229205" y="41053"/>
                    <a:pt x="251649" y="41053"/>
                  </a:cubicBezTo>
                  <a:cubicBezTo>
                    <a:pt x="258299" y="41053"/>
                    <a:pt x="264601" y="42519"/>
                    <a:pt x="270268" y="45129"/>
                  </a:cubicBezTo>
                  <a:cubicBezTo>
                    <a:pt x="278726" y="19048"/>
                    <a:pt x="303209" y="185"/>
                    <a:pt x="332109" y="185"/>
                  </a:cubicBezTo>
                  <a:cubicBezTo>
                    <a:pt x="359518" y="185"/>
                    <a:pt x="382951" y="17157"/>
                    <a:pt x="392511" y="41159"/>
                  </a:cubicBezTo>
                  <a:cubicBezTo>
                    <a:pt x="400546" y="29459"/>
                    <a:pt x="414014" y="21781"/>
                    <a:pt x="429279" y="21781"/>
                  </a:cubicBezTo>
                  <a:cubicBezTo>
                    <a:pt x="444897" y="21781"/>
                    <a:pt x="458631" y="29820"/>
                    <a:pt x="466592" y="41980"/>
                  </a:cubicBezTo>
                  <a:cubicBezTo>
                    <a:pt x="471814" y="23162"/>
                    <a:pt x="489057" y="9345"/>
                    <a:pt x="509538" y="9345"/>
                  </a:cubicBezTo>
                  <a:cubicBezTo>
                    <a:pt x="532411" y="9345"/>
                    <a:pt x="551250" y="26574"/>
                    <a:pt x="553809" y="48761"/>
                  </a:cubicBezTo>
                  <a:cubicBezTo>
                    <a:pt x="567504" y="33922"/>
                    <a:pt x="587112" y="24617"/>
                    <a:pt x="608898" y="24617"/>
                  </a:cubicBezTo>
                  <a:cubicBezTo>
                    <a:pt x="650295" y="24617"/>
                    <a:pt x="683853" y="58177"/>
                    <a:pt x="683853" y="99572"/>
                  </a:cubicBezTo>
                  <a:cubicBezTo>
                    <a:pt x="683853" y="105562"/>
                    <a:pt x="683129" y="111379"/>
                    <a:pt x="681803" y="116963"/>
                  </a:cubicBezTo>
                  <a:cubicBezTo>
                    <a:pt x="688379" y="113138"/>
                    <a:pt x="696018" y="110937"/>
                    <a:pt x="704175" y="110937"/>
                  </a:cubicBezTo>
                  <a:cubicBezTo>
                    <a:pt x="728794" y="110937"/>
                    <a:pt x="748752" y="130895"/>
                    <a:pt x="748752" y="155514"/>
                  </a:cubicBezTo>
                  <a:cubicBezTo>
                    <a:pt x="748752" y="166985"/>
                    <a:pt x="744416" y="177441"/>
                    <a:pt x="737299" y="185341"/>
                  </a:cubicBezTo>
                  <a:cubicBezTo>
                    <a:pt x="772664" y="191358"/>
                    <a:pt x="799595" y="222130"/>
                    <a:pt x="799595" y="259209"/>
                  </a:cubicBezTo>
                  <a:cubicBezTo>
                    <a:pt x="799595" y="300605"/>
                    <a:pt x="766037" y="334164"/>
                    <a:pt x="724640" y="334164"/>
                  </a:cubicBezTo>
                  <a:cubicBezTo>
                    <a:pt x="722526" y="334164"/>
                    <a:pt x="720439" y="334053"/>
                    <a:pt x="718369" y="333883"/>
                  </a:cubicBezTo>
                  <a:cubicBezTo>
                    <a:pt x="718369" y="333977"/>
                    <a:pt x="718376" y="334070"/>
                    <a:pt x="718376" y="334164"/>
                  </a:cubicBezTo>
                  <a:cubicBezTo>
                    <a:pt x="718376" y="358783"/>
                    <a:pt x="698418" y="378741"/>
                    <a:pt x="673798" y="378741"/>
                  </a:cubicBezTo>
                  <a:cubicBezTo>
                    <a:pt x="659775" y="378741"/>
                    <a:pt x="647270" y="372258"/>
                    <a:pt x="639099" y="362136"/>
                  </a:cubicBezTo>
                  <a:cubicBezTo>
                    <a:pt x="639105" y="362466"/>
                    <a:pt x="639123" y="362794"/>
                    <a:pt x="639123" y="363126"/>
                  </a:cubicBezTo>
                  <a:cubicBezTo>
                    <a:pt x="639123" y="387745"/>
                    <a:pt x="619165" y="407703"/>
                    <a:pt x="594546" y="407703"/>
                  </a:cubicBezTo>
                  <a:cubicBezTo>
                    <a:pt x="580604" y="407703"/>
                    <a:pt x="568161" y="401300"/>
                    <a:pt x="559988" y="391278"/>
                  </a:cubicBezTo>
                  <a:cubicBezTo>
                    <a:pt x="559993" y="391579"/>
                    <a:pt x="560010" y="391876"/>
                    <a:pt x="560010" y="392177"/>
                  </a:cubicBezTo>
                  <a:cubicBezTo>
                    <a:pt x="560010" y="416340"/>
                    <a:pt x="545236" y="437045"/>
                    <a:pt x="524231" y="445772"/>
                  </a:cubicBezTo>
                  <a:cubicBezTo>
                    <a:pt x="530403" y="456663"/>
                    <a:pt x="533944" y="469243"/>
                    <a:pt x="533944" y="482656"/>
                  </a:cubicBezTo>
                  <a:cubicBezTo>
                    <a:pt x="533944" y="524053"/>
                    <a:pt x="500386" y="557612"/>
                    <a:pt x="458991" y="557612"/>
                  </a:cubicBezTo>
                  <a:cubicBezTo>
                    <a:pt x="444757" y="557612"/>
                    <a:pt x="431450" y="553643"/>
                    <a:pt x="420115" y="546754"/>
                  </a:cubicBezTo>
                  <a:cubicBezTo>
                    <a:pt x="425907" y="555781"/>
                    <a:pt x="429279" y="566509"/>
                    <a:pt x="429279" y="578030"/>
                  </a:cubicBezTo>
                  <a:cubicBezTo>
                    <a:pt x="429279" y="610069"/>
                    <a:pt x="403305" y="636045"/>
                    <a:pt x="371264" y="636045"/>
                  </a:cubicBezTo>
                  <a:cubicBezTo>
                    <a:pt x="349770" y="636045"/>
                    <a:pt x="331020" y="624345"/>
                    <a:pt x="320996" y="606977"/>
                  </a:cubicBezTo>
                  <a:cubicBezTo>
                    <a:pt x="313911" y="611721"/>
                    <a:pt x="305393" y="614490"/>
                    <a:pt x="296226" y="614490"/>
                  </a:cubicBezTo>
                  <a:cubicBezTo>
                    <a:pt x="271607" y="614490"/>
                    <a:pt x="251649" y="594532"/>
                    <a:pt x="251649" y="569913"/>
                  </a:cubicBezTo>
                  <a:cubicBezTo>
                    <a:pt x="251649" y="569242"/>
                    <a:pt x="251670" y="568575"/>
                    <a:pt x="251699" y="567912"/>
                  </a:cubicBezTo>
                  <a:cubicBezTo>
                    <a:pt x="239781" y="578547"/>
                    <a:pt x="224069" y="585019"/>
                    <a:pt x="206839" y="585019"/>
                  </a:cubicBezTo>
                  <a:cubicBezTo>
                    <a:pt x="169608" y="585019"/>
                    <a:pt x="139425" y="554838"/>
                    <a:pt x="139425" y="517607"/>
                  </a:cubicBezTo>
                  <a:cubicBezTo>
                    <a:pt x="139425" y="513266"/>
                    <a:pt x="139851" y="509027"/>
                    <a:pt x="140634" y="504915"/>
                  </a:cubicBezTo>
                  <a:cubicBezTo>
                    <a:pt x="134602" y="507040"/>
                    <a:pt x="128118" y="508207"/>
                    <a:pt x="121358" y="508207"/>
                  </a:cubicBezTo>
                  <a:cubicBezTo>
                    <a:pt x="89318" y="508207"/>
                    <a:pt x="63343" y="482234"/>
                    <a:pt x="63343" y="450192"/>
                  </a:cubicBezTo>
                  <a:cubicBezTo>
                    <a:pt x="63343" y="438153"/>
                    <a:pt x="67012" y="426971"/>
                    <a:pt x="73292" y="417700"/>
                  </a:cubicBezTo>
                  <a:cubicBezTo>
                    <a:pt x="70090" y="418431"/>
                    <a:pt x="66764" y="418829"/>
                    <a:pt x="63343" y="418829"/>
                  </a:cubicBezTo>
                  <a:cubicBezTo>
                    <a:pt x="38724" y="418829"/>
                    <a:pt x="18766" y="398871"/>
                    <a:pt x="18766" y="374250"/>
                  </a:cubicBezTo>
                  <a:cubicBezTo>
                    <a:pt x="18766" y="357762"/>
                    <a:pt x="27724" y="343374"/>
                    <a:pt x="41034" y="335664"/>
                  </a:cubicBezTo>
                  <a:cubicBezTo>
                    <a:pt x="16764" y="323257"/>
                    <a:pt x="138" y="298028"/>
                    <a:pt x="138" y="268901"/>
                  </a:cubicBezTo>
                  <a:cubicBezTo>
                    <a:pt x="138" y="229520"/>
                    <a:pt x="30518" y="197254"/>
                    <a:pt x="69116" y="194205"/>
                  </a:cubicBez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4892BF1-E137-05C7-3FF5-AD62A3A5C793}"/>
                </a:ext>
              </a:extLst>
            </p:cNvPr>
            <p:cNvGrpSpPr/>
            <p:nvPr/>
          </p:nvGrpSpPr>
          <p:grpSpPr>
            <a:xfrm>
              <a:off x="4243804" y="1403350"/>
              <a:ext cx="7274257" cy="4358616"/>
              <a:chOff x="4258930" y="1403363"/>
              <a:chExt cx="7274257" cy="4358616"/>
            </a:xfrm>
          </p:grpSpPr>
          <p:sp>
            <p:nvSpPr>
              <p:cNvPr id="95" name="Vrije vorm: vorm 94">
                <a:extLst>
                  <a:ext uri="{FF2B5EF4-FFF2-40B4-BE49-F238E27FC236}">
                    <a16:creationId xmlns:a16="http://schemas.microsoft.com/office/drawing/2014/main" id="{499C9FCA-E1DD-3133-7E7D-0CE151AE6011}"/>
                  </a:ext>
                </a:extLst>
              </p:cNvPr>
              <p:cNvSpPr/>
              <p:nvPr/>
            </p:nvSpPr>
            <p:spPr>
              <a:xfrm flipV="1">
                <a:off x="10213486" y="1403363"/>
                <a:ext cx="635701" cy="950460"/>
              </a:xfrm>
              <a:custGeom>
                <a:avLst/>
                <a:gdLst>
                  <a:gd name="connsiteX0" fmla="*/ 367971 w 425289"/>
                  <a:gd name="connsiteY0" fmla="*/ 584048 h 635865"/>
                  <a:gd name="connsiteX1" fmla="*/ 413899 w 425289"/>
                  <a:gd name="connsiteY1" fmla="*/ 566527 h 635865"/>
                  <a:gd name="connsiteX2" fmla="*/ 413848 w 425289"/>
                  <a:gd name="connsiteY2" fmla="*/ 568587 h 635865"/>
                  <a:gd name="connsiteX3" fmla="*/ 425573 w 425289"/>
                  <a:gd name="connsiteY3" fmla="*/ 599105 h 635865"/>
                  <a:gd name="connsiteX4" fmla="*/ 371421 w 425289"/>
                  <a:gd name="connsiteY4" fmla="*/ 636289 h 635865"/>
                  <a:gd name="connsiteX5" fmla="*/ 321138 w 425289"/>
                  <a:gd name="connsiteY5" fmla="*/ 607230 h 635865"/>
                  <a:gd name="connsiteX6" fmla="*/ 296383 w 425289"/>
                  <a:gd name="connsiteY6" fmla="*/ 614733 h 635865"/>
                  <a:gd name="connsiteX7" fmla="*/ 251796 w 425289"/>
                  <a:gd name="connsiteY7" fmla="*/ 570163 h 635865"/>
                  <a:gd name="connsiteX8" fmla="*/ 251846 w 425289"/>
                  <a:gd name="connsiteY8" fmla="*/ 568151 h 635865"/>
                  <a:gd name="connsiteX9" fmla="*/ 206989 w 425289"/>
                  <a:gd name="connsiteY9" fmla="*/ 585270 h 635865"/>
                  <a:gd name="connsiteX10" fmla="*/ 139573 w 425289"/>
                  <a:gd name="connsiteY10" fmla="*/ 517853 h 635865"/>
                  <a:gd name="connsiteX11" fmla="*/ 140778 w 425289"/>
                  <a:gd name="connsiteY11" fmla="*/ 505156 h 635865"/>
                  <a:gd name="connsiteX12" fmla="*/ 121516 w 425289"/>
                  <a:gd name="connsiteY12" fmla="*/ 508457 h 635865"/>
                  <a:gd name="connsiteX13" fmla="*/ 63496 w 425289"/>
                  <a:gd name="connsiteY13" fmla="*/ 450435 h 635865"/>
                  <a:gd name="connsiteX14" fmla="*/ 73445 w 425289"/>
                  <a:gd name="connsiteY14" fmla="*/ 417942 h 635865"/>
                  <a:gd name="connsiteX15" fmla="*/ 63496 w 425289"/>
                  <a:gd name="connsiteY15" fmla="*/ 419080 h 635865"/>
                  <a:gd name="connsiteX16" fmla="*/ 18926 w 425289"/>
                  <a:gd name="connsiteY16" fmla="*/ 374493 h 635865"/>
                  <a:gd name="connsiteX17" fmla="*/ 41186 w 425289"/>
                  <a:gd name="connsiteY17" fmla="*/ 335902 h 635865"/>
                  <a:gd name="connsiteX18" fmla="*/ 283 w 425289"/>
                  <a:gd name="connsiteY18" fmla="*/ 269155 h 635865"/>
                  <a:gd name="connsiteX19" fmla="*/ 69275 w 425289"/>
                  <a:gd name="connsiteY19" fmla="*/ 194452 h 635865"/>
                  <a:gd name="connsiteX20" fmla="*/ 63496 w 425289"/>
                  <a:gd name="connsiteY20" fmla="*/ 169193 h 635865"/>
                  <a:gd name="connsiteX21" fmla="*/ 121516 w 425289"/>
                  <a:gd name="connsiteY21" fmla="*/ 111188 h 635865"/>
                  <a:gd name="connsiteX22" fmla="*/ 134984 w 425289"/>
                  <a:gd name="connsiteY22" fmla="*/ 112763 h 635865"/>
                  <a:gd name="connsiteX23" fmla="*/ 179520 w 425289"/>
                  <a:gd name="connsiteY23" fmla="*/ 69448 h 635865"/>
                  <a:gd name="connsiteX24" fmla="*/ 207693 w 425289"/>
                  <a:gd name="connsiteY24" fmla="*/ 79465 h 635865"/>
                  <a:gd name="connsiteX25" fmla="*/ 251796 w 425289"/>
                  <a:gd name="connsiteY25" fmla="*/ 41293 h 635865"/>
                  <a:gd name="connsiteX26" fmla="*/ 270420 w 425289"/>
                  <a:gd name="connsiteY26" fmla="*/ 45380 h 635865"/>
                  <a:gd name="connsiteX27" fmla="*/ 332261 w 425289"/>
                  <a:gd name="connsiteY27" fmla="*/ 424 h 635865"/>
                  <a:gd name="connsiteX28" fmla="*/ 389292 w 425289"/>
                  <a:gd name="connsiteY28" fmla="*/ 34291 h 635865"/>
                  <a:gd name="connsiteX29" fmla="*/ 368691 w 425289"/>
                  <a:gd name="connsiteY29" fmla="*/ 66200 h 635865"/>
                  <a:gd name="connsiteX30" fmla="*/ 339848 w 425289"/>
                  <a:gd name="connsiteY30" fmla="*/ 55932 h 635865"/>
                  <a:gd name="connsiteX31" fmla="*/ 294238 w 425289"/>
                  <a:gd name="connsiteY31" fmla="*/ 100285 h 635865"/>
                  <a:gd name="connsiteX32" fmla="*/ 280454 w 425289"/>
                  <a:gd name="connsiteY32" fmla="*/ 98660 h 635865"/>
                  <a:gd name="connsiteX33" fmla="*/ 221060 w 425289"/>
                  <a:gd name="connsiteY33" fmla="*/ 158054 h 635865"/>
                  <a:gd name="connsiteX34" fmla="*/ 226972 w 425289"/>
                  <a:gd name="connsiteY34" fmla="*/ 183916 h 635865"/>
                  <a:gd name="connsiteX35" fmla="*/ 156340 w 425289"/>
                  <a:gd name="connsiteY35" fmla="*/ 260394 h 635865"/>
                  <a:gd name="connsiteX36" fmla="*/ 198213 w 425289"/>
                  <a:gd name="connsiteY36" fmla="*/ 328750 h 635865"/>
                  <a:gd name="connsiteX37" fmla="*/ 175416 w 425289"/>
                  <a:gd name="connsiteY37" fmla="*/ 368263 h 635865"/>
                  <a:gd name="connsiteX38" fmla="*/ 221060 w 425289"/>
                  <a:gd name="connsiteY38" fmla="*/ 413888 h 635865"/>
                  <a:gd name="connsiteX39" fmla="*/ 231243 w 425289"/>
                  <a:gd name="connsiteY39" fmla="*/ 412732 h 635865"/>
                  <a:gd name="connsiteX40" fmla="*/ 221060 w 425289"/>
                  <a:gd name="connsiteY40" fmla="*/ 446014 h 635865"/>
                  <a:gd name="connsiteX41" fmla="*/ 280454 w 425289"/>
                  <a:gd name="connsiteY41" fmla="*/ 505408 h 635865"/>
                  <a:gd name="connsiteX42" fmla="*/ 300202 w 425289"/>
                  <a:gd name="connsiteY42" fmla="*/ 502041 h 635865"/>
                  <a:gd name="connsiteX43" fmla="*/ 298961 w 425289"/>
                  <a:gd name="connsiteY43" fmla="*/ 515022 h 635865"/>
                  <a:gd name="connsiteX44" fmla="*/ 367971 w 425289"/>
                  <a:gd name="connsiteY44" fmla="*/ 584048 h 635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25289" h="635865">
                    <a:moveTo>
                      <a:pt x="367971" y="584048"/>
                    </a:moveTo>
                    <a:cubicBezTo>
                      <a:pt x="385624" y="584048"/>
                      <a:pt x="401705" y="577416"/>
                      <a:pt x="413899" y="566527"/>
                    </a:cubicBezTo>
                    <a:cubicBezTo>
                      <a:pt x="413881" y="567213"/>
                      <a:pt x="413848" y="567901"/>
                      <a:pt x="413848" y="568587"/>
                    </a:cubicBezTo>
                    <a:cubicBezTo>
                      <a:pt x="413848" y="580313"/>
                      <a:pt x="418269" y="591016"/>
                      <a:pt x="425573" y="599105"/>
                    </a:cubicBezTo>
                    <a:cubicBezTo>
                      <a:pt x="417198" y="620863"/>
                      <a:pt x="396110" y="636289"/>
                      <a:pt x="371421" y="636289"/>
                    </a:cubicBezTo>
                    <a:cubicBezTo>
                      <a:pt x="349915" y="636289"/>
                      <a:pt x="331172" y="624599"/>
                      <a:pt x="321138" y="607230"/>
                    </a:cubicBezTo>
                    <a:cubicBezTo>
                      <a:pt x="314071" y="611969"/>
                      <a:pt x="305544" y="614733"/>
                      <a:pt x="296383" y="614733"/>
                    </a:cubicBezTo>
                    <a:cubicBezTo>
                      <a:pt x="271760" y="614733"/>
                      <a:pt x="251796" y="594785"/>
                      <a:pt x="251796" y="570163"/>
                    </a:cubicBezTo>
                    <a:cubicBezTo>
                      <a:pt x="251796" y="569493"/>
                      <a:pt x="251828" y="568823"/>
                      <a:pt x="251846" y="568151"/>
                    </a:cubicBezTo>
                    <a:cubicBezTo>
                      <a:pt x="239936" y="578788"/>
                      <a:pt x="224225" y="585270"/>
                      <a:pt x="206989" y="585270"/>
                    </a:cubicBezTo>
                    <a:cubicBezTo>
                      <a:pt x="169755" y="585270"/>
                      <a:pt x="139573" y="555087"/>
                      <a:pt x="139573" y="517853"/>
                    </a:cubicBezTo>
                    <a:cubicBezTo>
                      <a:pt x="139573" y="513515"/>
                      <a:pt x="140008" y="509278"/>
                      <a:pt x="140778" y="505156"/>
                    </a:cubicBezTo>
                    <a:cubicBezTo>
                      <a:pt x="134749" y="507284"/>
                      <a:pt x="128267" y="508457"/>
                      <a:pt x="121516" y="508457"/>
                    </a:cubicBezTo>
                    <a:cubicBezTo>
                      <a:pt x="89475" y="508457"/>
                      <a:pt x="63496" y="482478"/>
                      <a:pt x="63496" y="450435"/>
                    </a:cubicBezTo>
                    <a:cubicBezTo>
                      <a:pt x="63496" y="438392"/>
                      <a:pt x="67164" y="427221"/>
                      <a:pt x="73445" y="417942"/>
                    </a:cubicBezTo>
                    <a:cubicBezTo>
                      <a:pt x="70245" y="418678"/>
                      <a:pt x="66912" y="419080"/>
                      <a:pt x="63496" y="419080"/>
                    </a:cubicBezTo>
                    <a:cubicBezTo>
                      <a:pt x="38874" y="419080"/>
                      <a:pt x="18926" y="399116"/>
                      <a:pt x="18926" y="374493"/>
                    </a:cubicBezTo>
                    <a:cubicBezTo>
                      <a:pt x="18926" y="358011"/>
                      <a:pt x="27870" y="343624"/>
                      <a:pt x="41186" y="335902"/>
                    </a:cubicBezTo>
                    <a:cubicBezTo>
                      <a:pt x="16915" y="323507"/>
                      <a:pt x="283" y="298283"/>
                      <a:pt x="283" y="269155"/>
                    </a:cubicBezTo>
                    <a:cubicBezTo>
                      <a:pt x="283" y="229759"/>
                      <a:pt x="30666" y="197500"/>
                      <a:pt x="69275" y="194452"/>
                    </a:cubicBezTo>
                    <a:cubicBezTo>
                      <a:pt x="65573" y="186813"/>
                      <a:pt x="63496" y="178254"/>
                      <a:pt x="63496" y="169193"/>
                    </a:cubicBezTo>
                    <a:cubicBezTo>
                      <a:pt x="63496" y="137150"/>
                      <a:pt x="89475" y="111188"/>
                      <a:pt x="121516" y="111188"/>
                    </a:cubicBezTo>
                    <a:cubicBezTo>
                      <a:pt x="126157" y="111188"/>
                      <a:pt x="130662" y="111742"/>
                      <a:pt x="134984" y="112763"/>
                    </a:cubicBezTo>
                    <a:cubicBezTo>
                      <a:pt x="135637" y="88728"/>
                      <a:pt x="155317" y="69448"/>
                      <a:pt x="179520" y="69448"/>
                    </a:cubicBezTo>
                    <a:cubicBezTo>
                      <a:pt x="190207" y="69448"/>
                      <a:pt x="200005" y="73201"/>
                      <a:pt x="207693" y="79465"/>
                    </a:cubicBezTo>
                    <a:cubicBezTo>
                      <a:pt x="210792" y="57891"/>
                      <a:pt x="229350" y="41293"/>
                      <a:pt x="251796" y="41293"/>
                    </a:cubicBezTo>
                    <a:cubicBezTo>
                      <a:pt x="258444" y="41293"/>
                      <a:pt x="264759" y="42766"/>
                      <a:pt x="270420" y="45380"/>
                    </a:cubicBezTo>
                    <a:cubicBezTo>
                      <a:pt x="278880" y="19301"/>
                      <a:pt x="303367" y="424"/>
                      <a:pt x="332261" y="424"/>
                    </a:cubicBezTo>
                    <a:cubicBezTo>
                      <a:pt x="356866" y="424"/>
                      <a:pt x="378272" y="14108"/>
                      <a:pt x="389292" y="34291"/>
                    </a:cubicBezTo>
                    <a:cubicBezTo>
                      <a:pt x="378371" y="41275"/>
                      <a:pt x="370618" y="52801"/>
                      <a:pt x="368691" y="66200"/>
                    </a:cubicBezTo>
                    <a:cubicBezTo>
                      <a:pt x="360835" y="59784"/>
                      <a:pt x="350785" y="55932"/>
                      <a:pt x="339848" y="55932"/>
                    </a:cubicBezTo>
                    <a:cubicBezTo>
                      <a:pt x="315075" y="55932"/>
                      <a:pt x="294926" y="75679"/>
                      <a:pt x="294238" y="100285"/>
                    </a:cubicBezTo>
                    <a:cubicBezTo>
                      <a:pt x="289817" y="99230"/>
                      <a:pt x="285211" y="98660"/>
                      <a:pt x="280454" y="98660"/>
                    </a:cubicBezTo>
                    <a:cubicBezTo>
                      <a:pt x="247658" y="98660"/>
                      <a:pt x="221060" y="125258"/>
                      <a:pt x="221060" y="158054"/>
                    </a:cubicBezTo>
                    <a:cubicBezTo>
                      <a:pt x="221060" y="167333"/>
                      <a:pt x="223187" y="176094"/>
                      <a:pt x="226972" y="183916"/>
                    </a:cubicBezTo>
                    <a:cubicBezTo>
                      <a:pt x="187443" y="187031"/>
                      <a:pt x="156340" y="220077"/>
                      <a:pt x="156340" y="260394"/>
                    </a:cubicBezTo>
                    <a:cubicBezTo>
                      <a:pt x="156340" y="290208"/>
                      <a:pt x="173374" y="316036"/>
                      <a:pt x="198213" y="328750"/>
                    </a:cubicBezTo>
                    <a:cubicBezTo>
                      <a:pt x="184596" y="336639"/>
                      <a:pt x="175416" y="351378"/>
                      <a:pt x="175416" y="368263"/>
                    </a:cubicBezTo>
                    <a:cubicBezTo>
                      <a:pt x="175416" y="393454"/>
                      <a:pt x="195852" y="413888"/>
                      <a:pt x="221060" y="413888"/>
                    </a:cubicBezTo>
                    <a:cubicBezTo>
                      <a:pt x="224560" y="413888"/>
                      <a:pt x="227960" y="413487"/>
                      <a:pt x="231243" y="412732"/>
                    </a:cubicBezTo>
                    <a:cubicBezTo>
                      <a:pt x="224811" y="422229"/>
                      <a:pt x="221060" y="433687"/>
                      <a:pt x="221060" y="446014"/>
                    </a:cubicBezTo>
                    <a:cubicBezTo>
                      <a:pt x="221060" y="478810"/>
                      <a:pt x="247658" y="505408"/>
                      <a:pt x="280454" y="505408"/>
                    </a:cubicBezTo>
                    <a:cubicBezTo>
                      <a:pt x="287372" y="505408"/>
                      <a:pt x="294020" y="504202"/>
                      <a:pt x="300202" y="502041"/>
                    </a:cubicBezTo>
                    <a:cubicBezTo>
                      <a:pt x="299397" y="506246"/>
                      <a:pt x="298961" y="510583"/>
                      <a:pt x="298961" y="515022"/>
                    </a:cubicBezTo>
                    <a:cubicBezTo>
                      <a:pt x="298961" y="553144"/>
                      <a:pt x="329848" y="584048"/>
                      <a:pt x="367971" y="584048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16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6DFB8CFC-69C3-FA42-B94A-2B870363C1C2}"/>
                  </a:ext>
                </a:extLst>
              </p:cNvPr>
              <p:cNvGrpSpPr/>
              <p:nvPr/>
            </p:nvGrpSpPr>
            <p:grpSpPr>
              <a:xfrm>
                <a:off x="4258930" y="1640851"/>
                <a:ext cx="7274257" cy="4121128"/>
                <a:chOff x="4258101" y="1692818"/>
                <a:chExt cx="7274257" cy="4121128"/>
              </a:xfrm>
            </p:grpSpPr>
            <p:sp>
              <p:nvSpPr>
                <p:cNvPr id="12" name="Rechthoek 11">
                  <a:extLst>
                    <a:ext uri="{FF2B5EF4-FFF2-40B4-BE49-F238E27FC236}">
                      <a16:creationId xmlns:a16="http://schemas.microsoft.com/office/drawing/2014/main" id="{2368CCC7-5B4C-19EC-4681-88A3B6EAE123}"/>
                    </a:ext>
                  </a:extLst>
                </p:cNvPr>
                <p:cNvSpPr/>
                <p:nvPr/>
              </p:nvSpPr>
              <p:spPr>
                <a:xfrm>
                  <a:off x="4258101" y="4838007"/>
                  <a:ext cx="1446662" cy="975938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1" name="Rechthoek 10">
                  <a:extLst>
                    <a:ext uri="{FF2B5EF4-FFF2-40B4-BE49-F238E27FC236}">
                      <a16:creationId xmlns:a16="http://schemas.microsoft.com/office/drawing/2014/main" id="{B52BF0EE-D4AD-E63C-C8E8-2F86F4068CE2}"/>
                    </a:ext>
                  </a:extLst>
                </p:cNvPr>
                <p:cNvSpPr/>
                <p:nvPr/>
              </p:nvSpPr>
              <p:spPr>
                <a:xfrm>
                  <a:off x="6209731" y="4107976"/>
                  <a:ext cx="1446662" cy="1705969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3" name="Rechthoek 12">
                  <a:extLst>
                    <a:ext uri="{FF2B5EF4-FFF2-40B4-BE49-F238E27FC236}">
                      <a16:creationId xmlns:a16="http://schemas.microsoft.com/office/drawing/2014/main" id="{04513CA1-2903-51F8-0A34-003BC7C4B8DD}"/>
                    </a:ext>
                  </a:extLst>
                </p:cNvPr>
                <p:cNvSpPr/>
                <p:nvPr/>
              </p:nvSpPr>
              <p:spPr>
                <a:xfrm>
                  <a:off x="5699221" y="4107976"/>
                  <a:ext cx="510510" cy="1705969"/>
                </a:xfrm>
                <a:custGeom>
                  <a:avLst/>
                  <a:gdLst>
                    <a:gd name="connsiteX0" fmla="*/ 0 w 504968"/>
                    <a:gd name="connsiteY0" fmla="*/ 0 h 1705969"/>
                    <a:gd name="connsiteX1" fmla="*/ 504968 w 504968"/>
                    <a:gd name="connsiteY1" fmla="*/ 0 h 1705969"/>
                    <a:gd name="connsiteX2" fmla="*/ 504968 w 504968"/>
                    <a:gd name="connsiteY2" fmla="*/ 1705969 h 1705969"/>
                    <a:gd name="connsiteX3" fmla="*/ 0 w 504968"/>
                    <a:gd name="connsiteY3" fmla="*/ 1705969 h 1705969"/>
                    <a:gd name="connsiteX4" fmla="*/ 0 w 504968"/>
                    <a:gd name="connsiteY4" fmla="*/ 0 h 1705969"/>
                    <a:gd name="connsiteX0" fmla="*/ 0 w 510510"/>
                    <a:gd name="connsiteY0" fmla="*/ 714895 h 1705969"/>
                    <a:gd name="connsiteX1" fmla="*/ 510510 w 510510"/>
                    <a:gd name="connsiteY1" fmla="*/ 0 h 1705969"/>
                    <a:gd name="connsiteX2" fmla="*/ 510510 w 510510"/>
                    <a:gd name="connsiteY2" fmla="*/ 1705969 h 1705969"/>
                    <a:gd name="connsiteX3" fmla="*/ 5542 w 510510"/>
                    <a:gd name="connsiteY3" fmla="*/ 1705969 h 1705969"/>
                    <a:gd name="connsiteX4" fmla="*/ 0 w 510510"/>
                    <a:gd name="connsiteY4" fmla="*/ 714895 h 1705969"/>
                    <a:gd name="connsiteX0" fmla="*/ 0 w 510510"/>
                    <a:gd name="connsiteY0" fmla="*/ 725979 h 1705969"/>
                    <a:gd name="connsiteX1" fmla="*/ 510510 w 510510"/>
                    <a:gd name="connsiteY1" fmla="*/ 0 h 1705969"/>
                    <a:gd name="connsiteX2" fmla="*/ 510510 w 510510"/>
                    <a:gd name="connsiteY2" fmla="*/ 1705969 h 1705969"/>
                    <a:gd name="connsiteX3" fmla="*/ 5542 w 510510"/>
                    <a:gd name="connsiteY3" fmla="*/ 1705969 h 1705969"/>
                    <a:gd name="connsiteX4" fmla="*/ 0 w 510510"/>
                    <a:gd name="connsiteY4" fmla="*/ 725979 h 1705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0510" h="1705969">
                      <a:moveTo>
                        <a:pt x="0" y="725979"/>
                      </a:moveTo>
                      <a:lnTo>
                        <a:pt x="510510" y="0"/>
                      </a:lnTo>
                      <a:lnTo>
                        <a:pt x="510510" y="1705969"/>
                      </a:lnTo>
                      <a:lnTo>
                        <a:pt x="5542" y="1705969"/>
                      </a:lnTo>
                      <a:cubicBezTo>
                        <a:pt x="3695" y="1375611"/>
                        <a:pt x="1847" y="1056337"/>
                        <a:pt x="0" y="725979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0" name="Rechthoek 9">
                  <a:extLst>
                    <a:ext uri="{FF2B5EF4-FFF2-40B4-BE49-F238E27FC236}">
                      <a16:creationId xmlns:a16="http://schemas.microsoft.com/office/drawing/2014/main" id="{E1BB9C09-68F3-CA87-ADAA-A089FD5741B4}"/>
                    </a:ext>
                  </a:extLst>
                </p:cNvPr>
                <p:cNvSpPr/>
                <p:nvPr/>
              </p:nvSpPr>
              <p:spPr>
                <a:xfrm>
                  <a:off x="8161361" y="3384644"/>
                  <a:ext cx="1446662" cy="2429301"/>
                </a:xfrm>
                <a:prstGeom prst="rect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5" name="Rechthoek 14">
                  <a:extLst>
                    <a:ext uri="{FF2B5EF4-FFF2-40B4-BE49-F238E27FC236}">
                      <a16:creationId xmlns:a16="http://schemas.microsoft.com/office/drawing/2014/main" id="{CB2AC4E7-9C5A-AA66-B2CC-37C8EF353EDC}"/>
                    </a:ext>
                  </a:extLst>
                </p:cNvPr>
                <p:cNvSpPr/>
                <p:nvPr/>
              </p:nvSpPr>
              <p:spPr>
                <a:xfrm>
                  <a:off x="7656393" y="3384644"/>
                  <a:ext cx="506705" cy="2429301"/>
                </a:xfrm>
                <a:custGeom>
                  <a:avLst/>
                  <a:gdLst>
                    <a:gd name="connsiteX0" fmla="*/ 0 w 506705"/>
                    <a:gd name="connsiteY0" fmla="*/ 0 h 2429301"/>
                    <a:gd name="connsiteX1" fmla="*/ 506705 w 506705"/>
                    <a:gd name="connsiteY1" fmla="*/ 0 h 2429301"/>
                    <a:gd name="connsiteX2" fmla="*/ 506705 w 506705"/>
                    <a:gd name="connsiteY2" fmla="*/ 2429301 h 2429301"/>
                    <a:gd name="connsiteX3" fmla="*/ 0 w 506705"/>
                    <a:gd name="connsiteY3" fmla="*/ 2429301 h 2429301"/>
                    <a:gd name="connsiteX4" fmla="*/ 0 w 506705"/>
                    <a:gd name="connsiteY4" fmla="*/ 0 h 2429301"/>
                    <a:gd name="connsiteX0" fmla="*/ 0 w 506705"/>
                    <a:gd name="connsiteY0" fmla="*/ 703811 h 2429301"/>
                    <a:gd name="connsiteX1" fmla="*/ 506705 w 506705"/>
                    <a:gd name="connsiteY1" fmla="*/ 0 h 2429301"/>
                    <a:gd name="connsiteX2" fmla="*/ 506705 w 506705"/>
                    <a:gd name="connsiteY2" fmla="*/ 2429301 h 2429301"/>
                    <a:gd name="connsiteX3" fmla="*/ 0 w 506705"/>
                    <a:gd name="connsiteY3" fmla="*/ 2429301 h 2429301"/>
                    <a:gd name="connsiteX4" fmla="*/ 0 w 506705"/>
                    <a:gd name="connsiteY4" fmla="*/ 703811 h 2429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705" h="2429301">
                      <a:moveTo>
                        <a:pt x="0" y="703811"/>
                      </a:moveTo>
                      <a:lnTo>
                        <a:pt x="506705" y="0"/>
                      </a:lnTo>
                      <a:lnTo>
                        <a:pt x="506705" y="2429301"/>
                      </a:lnTo>
                      <a:lnTo>
                        <a:pt x="0" y="2429301"/>
                      </a:lnTo>
                      <a:lnTo>
                        <a:pt x="0" y="703811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9" name="Rechthoek 8">
                  <a:extLst>
                    <a:ext uri="{FF2B5EF4-FFF2-40B4-BE49-F238E27FC236}">
                      <a16:creationId xmlns:a16="http://schemas.microsoft.com/office/drawing/2014/main" id="{4F7214A9-8552-31C3-A3BF-8EC1D68BF0EC}"/>
                    </a:ext>
                  </a:extLst>
                </p:cNvPr>
                <p:cNvSpPr/>
                <p:nvPr/>
              </p:nvSpPr>
              <p:spPr>
                <a:xfrm>
                  <a:off x="10085696" y="2647666"/>
                  <a:ext cx="1446662" cy="3166280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7" name="Rechthoek 16">
                  <a:extLst>
                    <a:ext uri="{FF2B5EF4-FFF2-40B4-BE49-F238E27FC236}">
                      <a16:creationId xmlns:a16="http://schemas.microsoft.com/office/drawing/2014/main" id="{4CB731CF-27AB-B091-E101-948915A0DB2F}"/>
                    </a:ext>
                  </a:extLst>
                </p:cNvPr>
                <p:cNvSpPr/>
                <p:nvPr/>
              </p:nvSpPr>
              <p:spPr>
                <a:xfrm>
                  <a:off x="9602481" y="2647666"/>
                  <a:ext cx="483215" cy="3166280"/>
                </a:xfrm>
                <a:custGeom>
                  <a:avLst/>
                  <a:gdLst>
                    <a:gd name="connsiteX0" fmla="*/ 0 w 477673"/>
                    <a:gd name="connsiteY0" fmla="*/ 0 h 3166280"/>
                    <a:gd name="connsiteX1" fmla="*/ 477673 w 477673"/>
                    <a:gd name="connsiteY1" fmla="*/ 0 h 3166280"/>
                    <a:gd name="connsiteX2" fmla="*/ 477673 w 477673"/>
                    <a:gd name="connsiteY2" fmla="*/ 3166280 h 3166280"/>
                    <a:gd name="connsiteX3" fmla="*/ 0 w 477673"/>
                    <a:gd name="connsiteY3" fmla="*/ 3166280 h 3166280"/>
                    <a:gd name="connsiteX4" fmla="*/ 0 w 477673"/>
                    <a:gd name="connsiteY4" fmla="*/ 0 h 3166280"/>
                    <a:gd name="connsiteX0" fmla="*/ 0 w 483215"/>
                    <a:gd name="connsiteY0" fmla="*/ 731520 h 3166280"/>
                    <a:gd name="connsiteX1" fmla="*/ 483215 w 483215"/>
                    <a:gd name="connsiteY1" fmla="*/ 0 h 3166280"/>
                    <a:gd name="connsiteX2" fmla="*/ 483215 w 483215"/>
                    <a:gd name="connsiteY2" fmla="*/ 3166280 h 3166280"/>
                    <a:gd name="connsiteX3" fmla="*/ 5542 w 483215"/>
                    <a:gd name="connsiteY3" fmla="*/ 3166280 h 3166280"/>
                    <a:gd name="connsiteX4" fmla="*/ 0 w 483215"/>
                    <a:gd name="connsiteY4" fmla="*/ 731520 h 3166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83215" h="3166280">
                      <a:moveTo>
                        <a:pt x="0" y="731520"/>
                      </a:moveTo>
                      <a:lnTo>
                        <a:pt x="483215" y="0"/>
                      </a:lnTo>
                      <a:lnTo>
                        <a:pt x="483215" y="3166280"/>
                      </a:lnTo>
                      <a:lnTo>
                        <a:pt x="5542" y="3166280"/>
                      </a:lnTo>
                      <a:cubicBezTo>
                        <a:pt x="3695" y="2354693"/>
                        <a:pt x="1847" y="1543107"/>
                        <a:pt x="0" y="731520"/>
                      </a:cubicBezTo>
                      <a:close/>
                    </a:path>
                  </a:pathLst>
                </a:custGeom>
                <a:solidFill>
                  <a:srgbClr val="00424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cxnSp>
              <p:nvCxnSpPr>
                <p:cNvPr id="21" name="Rechte verbindingslijn 20">
                  <a:extLst>
                    <a:ext uri="{FF2B5EF4-FFF2-40B4-BE49-F238E27FC236}">
                      <a16:creationId xmlns:a16="http://schemas.microsoft.com/office/drawing/2014/main" id="{2793560B-B1BA-C84A-C5C5-FF81364C3864}"/>
                    </a:ext>
                  </a:extLst>
                </p:cNvPr>
                <p:cNvCxnSpPr/>
                <p:nvPr/>
              </p:nvCxnSpPr>
              <p:spPr>
                <a:xfrm>
                  <a:off x="4258101" y="4803198"/>
                  <a:ext cx="1427804" cy="0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Rechte verbindingslijn 21">
                  <a:extLst>
                    <a:ext uri="{FF2B5EF4-FFF2-40B4-BE49-F238E27FC236}">
                      <a16:creationId xmlns:a16="http://schemas.microsoft.com/office/drawing/2014/main" id="{2263AD80-CA5F-B810-3A3A-12585833982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162502" y="4067695"/>
                  <a:ext cx="1496291" cy="0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Rechte verbindingslijn 23">
                  <a:extLst>
                    <a:ext uri="{FF2B5EF4-FFF2-40B4-BE49-F238E27FC236}">
                      <a16:creationId xmlns:a16="http://schemas.microsoft.com/office/drawing/2014/main" id="{2EF42BF5-40E1-FC81-838C-9DC9E8E9E5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118764" y="3347259"/>
                  <a:ext cx="1485207" cy="0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Rechte verbindingslijn 26">
                  <a:extLst>
                    <a:ext uri="{FF2B5EF4-FFF2-40B4-BE49-F238E27FC236}">
                      <a16:creationId xmlns:a16="http://schemas.microsoft.com/office/drawing/2014/main" id="{7BA971D8-5D5D-B0F0-24CD-38A2B8E7BE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63740" y="4056611"/>
                  <a:ext cx="532013" cy="759492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Rechte verbindingslijn 31">
                  <a:extLst>
                    <a:ext uri="{FF2B5EF4-FFF2-40B4-BE49-F238E27FC236}">
                      <a16:creationId xmlns:a16="http://schemas.microsoft.com/office/drawing/2014/main" id="{B2BA8AF2-66B5-2677-1638-63901424F5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629610" y="3325091"/>
                  <a:ext cx="527947" cy="753687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Rechte verbindingslijn 33">
                  <a:extLst>
                    <a:ext uri="{FF2B5EF4-FFF2-40B4-BE49-F238E27FC236}">
                      <a16:creationId xmlns:a16="http://schemas.microsoft.com/office/drawing/2014/main" id="{7B3AB552-B7CE-1955-90C1-1F45CF4229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569246" y="2258510"/>
                  <a:ext cx="736804" cy="1099832"/>
                </a:xfrm>
                <a:prstGeom prst="line">
                  <a:avLst/>
                </a:prstGeom>
                <a:ln w="76200">
                  <a:solidFill>
                    <a:schemeClr val="bg1"/>
                  </a:solidFill>
                  <a:tailEnd type="triangl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2" name="Tekstvak 41">
                  <a:extLst>
                    <a:ext uri="{FF2B5EF4-FFF2-40B4-BE49-F238E27FC236}">
                      <a16:creationId xmlns:a16="http://schemas.microsoft.com/office/drawing/2014/main" id="{A7B5FA1D-9B20-6DBF-B984-A6E7194C7AB3}"/>
                    </a:ext>
                  </a:extLst>
                </p:cNvPr>
                <p:cNvSpPr txBox="1"/>
                <p:nvPr/>
              </p:nvSpPr>
              <p:spPr>
                <a:xfrm>
                  <a:off x="6391865" y="4245823"/>
                  <a:ext cx="1132986" cy="432717"/>
                </a:xfrm>
                <a:prstGeom prst="rect">
                  <a:avLst/>
                </a:prstGeom>
                <a:noFill/>
              </p:spPr>
              <p:txBody>
                <a:bodyPr wrap="square" lIns="0" rtlCol="0">
                  <a:spAutoFit/>
                </a:bodyPr>
                <a:lstStyle/>
                <a:p>
                  <a:pPr algn="ctr"/>
                  <a:r>
                    <a:rPr lang="en-GB" sz="2309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ational poverty line</a:t>
                  </a:r>
                </a:p>
              </p:txBody>
            </p:sp>
            <p:sp>
              <p:nvSpPr>
                <p:cNvPr id="43" name="Tekstvak 42">
                  <a:extLst>
                    <a:ext uri="{FF2B5EF4-FFF2-40B4-BE49-F238E27FC236}">
                      <a16:creationId xmlns:a16="http://schemas.microsoft.com/office/drawing/2014/main" id="{F73575B6-C84A-18E1-1086-B7819C5CC9AB}"/>
                    </a:ext>
                  </a:extLst>
                </p:cNvPr>
                <p:cNvSpPr txBox="1"/>
                <p:nvPr/>
              </p:nvSpPr>
              <p:spPr>
                <a:xfrm>
                  <a:off x="4274973" y="4843470"/>
                  <a:ext cx="1449063" cy="51971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NL"/>
                  </a:defPPr>
                  <a:lvl1pPr algn="ctr">
                    <a:defRPr sz="1400" b="1" i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</a:lstStyle>
                <a:p>
                  <a:r>
                    <a:rPr lang="en-GB" sz="2309"/>
                    <a:t>SDG1:</a:t>
                  </a:r>
                  <a:br>
                    <a:rPr lang="en-GB" sz="2309"/>
                  </a:br>
                  <a:r>
                    <a:rPr lang="en-GB" sz="1979" b="0"/>
                    <a:t>Elimination of extreme poverty</a:t>
                  </a:r>
                </a:p>
              </p:txBody>
            </p:sp>
            <p:sp>
              <p:nvSpPr>
                <p:cNvPr id="44" name="Tekstvak 43">
                  <a:extLst>
                    <a:ext uri="{FF2B5EF4-FFF2-40B4-BE49-F238E27FC236}">
                      <a16:creationId xmlns:a16="http://schemas.microsoft.com/office/drawing/2014/main" id="{4D8D2FB5-5E4F-8167-7E95-D09BE3375F75}"/>
                    </a:ext>
                  </a:extLst>
                </p:cNvPr>
                <p:cNvSpPr txBox="1"/>
                <p:nvPr/>
              </p:nvSpPr>
              <p:spPr>
                <a:xfrm>
                  <a:off x="8163098" y="3499252"/>
                  <a:ext cx="1440873" cy="51971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GB" sz="2309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iving Income</a:t>
                  </a:r>
                  <a:br>
                    <a:rPr lang="en-GB" sz="2309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GB" sz="1979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sts of a decent standard of living</a:t>
                  </a:r>
                  <a:endParaRPr lang="en-GB" sz="2309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Tekstvak 44">
                  <a:extLst>
                    <a:ext uri="{FF2B5EF4-FFF2-40B4-BE49-F238E27FC236}">
                      <a16:creationId xmlns:a16="http://schemas.microsoft.com/office/drawing/2014/main" id="{A3F483A5-C2F6-B7D0-85D4-23135F2A7BBC}"/>
                    </a:ext>
                  </a:extLst>
                </p:cNvPr>
                <p:cNvSpPr txBox="1"/>
                <p:nvPr/>
              </p:nvSpPr>
              <p:spPr>
                <a:xfrm>
                  <a:off x="10104727" y="2782913"/>
                  <a:ext cx="1412505" cy="19148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GB" sz="2309" b="1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osperous income</a:t>
                  </a:r>
                  <a:endParaRPr lang="en-GB" sz="2309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Vrije vorm: vorm 57">
                  <a:extLst>
                    <a:ext uri="{FF2B5EF4-FFF2-40B4-BE49-F238E27FC236}">
                      <a16:creationId xmlns:a16="http://schemas.microsoft.com/office/drawing/2014/main" id="{233F98F4-0BEE-651F-F8F8-BE22EAEE581A}"/>
                    </a:ext>
                  </a:extLst>
                </p:cNvPr>
                <p:cNvSpPr/>
                <p:nvPr/>
              </p:nvSpPr>
              <p:spPr>
                <a:xfrm>
                  <a:off x="7066786" y="3436106"/>
                  <a:ext cx="180714" cy="72285"/>
                </a:xfrm>
                <a:custGeom>
                  <a:avLst/>
                  <a:gdLst>
                    <a:gd name="connsiteX0" fmla="*/ 0 w 146330"/>
                    <a:gd name="connsiteY0" fmla="*/ 19511 h 58532"/>
                    <a:gd name="connsiteX1" fmla="*/ 16848 w 146330"/>
                    <a:gd name="connsiteY1" fmla="*/ 11082 h 58532"/>
                    <a:gd name="connsiteX2" fmla="*/ 63810 w 146330"/>
                    <a:gd name="connsiteY2" fmla="*/ 0 h 58532"/>
                    <a:gd name="connsiteX3" fmla="*/ 138068 w 146330"/>
                    <a:gd name="connsiteY3" fmla="*/ 30759 h 58532"/>
                    <a:gd name="connsiteX4" fmla="*/ 146331 w 146330"/>
                    <a:gd name="connsiteY4" fmla="*/ 39022 h 58532"/>
                    <a:gd name="connsiteX5" fmla="*/ 144516 w 146330"/>
                    <a:gd name="connsiteY5" fmla="*/ 39022 h 58532"/>
                    <a:gd name="connsiteX6" fmla="*/ 92510 w 146330"/>
                    <a:gd name="connsiteY6" fmla="*/ 51294 h 58532"/>
                    <a:gd name="connsiteX7" fmla="*/ 61869 w 146330"/>
                    <a:gd name="connsiteY7" fmla="*/ 58532 h 58532"/>
                    <a:gd name="connsiteX8" fmla="*/ 566 w 146330"/>
                    <a:gd name="connsiteY8" fmla="*/ 20652 h 58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6330" h="58532">
                      <a:moveTo>
                        <a:pt x="0" y="19511"/>
                      </a:moveTo>
                      <a:lnTo>
                        <a:pt x="16848" y="11082"/>
                      </a:lnTo>
                      <a:cubicBezTo>
                        <a:pt x="31430" y="3795"/>
                        <a:pt x="47508" y="1"/>
                        <a:pt x="63810" y="0"/>
                      </a:cubicBezTo>
                      <a:cubicBezTo>
                        <a:pt x="91662" y="0"/>
                        <a:pt x="118374" y="11064"/>
                        <a:pt x="138068" y="30759"/>
                      </a:cubicBezTo>
                      <a:lnTo>
                        <a:pt x="146331" y="39022"/>
                      </a:lnTo>
                      <a:lnTo>
                        <a:pt x="144516" y="39022"/>
                      </a:lnTo>
                      <a:cubicBezTo>
                        <a:pt x="126464" y="39022"/>
                        <a:pt x="108659" y="43224"/>
                        <a:pt x="92510" y="51294"/>
                      </a:cubicBezTo>
                      <a:cubicBezTo>
                        <a:pt x="82997" y="56054"/>
                        <a:pt x="72506" y="58532"/>
                        <a:pt x="61869" y="58532"/>
                      </a:cubicBezTo>
                      <a:cubicBezTo>
                        <a:pt x="35909" y="58535"/>
                        <a:pt x="12176" y="43870"/>
                        <a:pt x="566" y="20652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59" name="Vrije vorm: vorm 58">
                  <a:extLst>
                    <a:ext uri="{FF2B5EF4-FFF2-40B4-BE49-F238E27FC236}">
                      <a16:creationId xmlns:a16="http://schemas.microsoft.com/office/drawing/2014/main" id="{312019F5-1CA9-5E66-090E-D350B08BE6AC}"/>
                    </a:ext>
                  </a:extLst>
                </p:cNvPr>
                <p:cNvSpPr/>
                <p:nvPr/>
              </p:nvSpPr>
              <p:spPr>
                <a:xfrm>
                  <a:off x="7072184" y="3436106"/>
                  <a:ext cx="163678" cy="60237"/>
                </a:xfrm>
                <a:custGeom>
                  <a:avLst/>
                  <a:gdLst>
                    <a:gd name="connsiteX0" fmla="*/ 57498 w 132536"/>
                    <a:gd name="connsiteY0" fmla="*/ 48777 h 48776"/>
                    <a:gd name="connsiteX1" fmla="*/ 88140 w 132536"/>
                    <a:gd name="connsiteY1" fmla="*/ 41538 h 48776"/>
                    <a:gd name="connsiteX2" fmla="*/ 132537 w 132536"/>
                    <a:gd name="connsiteY2" fmla="*/ 29705 h 48776"/>
                    <a:gd name="connsiteX3" fmla="*/ 59440 w 132536"/>
                    <a:gd name="connsiteY3" fmla="*/ 0 h 48776"/>
                    <a:gd name="connsiteX4" fmla="*/ 12477 w 132536"/>
                    <a:gd name="connsiteY4" fmla="*/ 11082 h 48776"/>
                    <a:gd name="connsiteX5" fmla="*/ 0 w 132536"/>
                    <a:gd name="connsiteY5" fmla="*/ 17326 h 48776"/>
                    <a:gd name="connsiteX6" fmla="*/ 57498 w 132536"/>
                    <a:gd name="connsiteY6" fmla="*/ 48777 h 48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536" h="48776">
                      <a:moveTo>
                        <a:pt x="57498" y="48777"/>
                      </a:moveTo>
                      <a:cubicBezTo>
                        <a:pt x="68136" y="48777"/>
                        <a:pt x="78627" y="46299"/>
                        <a:pt x="88140" y="41538"/>
                      </a:cubicBezTo>
                      <a:cubicBezTo>
                        <a:pt x="102005" y="34682"/>
                        <a:pt x="117098" y="30659"/>
                        <a:pt x="132537" y="29705"/>
                      </a:cubicBezTo>
                      <a:cubicBezTo>
                        <a:pt x="112961" y="10674"/>
                        <a:pt x="86741" y="19"/>
                        <a:pt x="59440" y="0"/>
                      </a:cubicBezTo>
                      <a:cubicBezTo>
                        <a:pt x="43138" y="1"/>
                        <a:pt x="27060" y="3795"/>
                        <a:pt x="12477" y="11082"/>
                      </a:cubicBezTo>
                      <a:lnTo>
                        <a:pt x="0" y="17326"/>
                      </a:lnTo>
                      <a:cubicBezTo>
                        <a:pt x="12577" y="36898"/>
                        <a:pt x="34233" y="48744"/>
                        <a:pt x="57498" y="48777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0" name="Vrije vorm: vorm 59">
                  <a:extLst>
                    <a:ext uri="{FF2B5EF4-FFF2-40B4-BE49-F238E27FC236}">
                      <a16:creationId xmlns:a16="http://schemas.microsoft.com/office/drawing/2014/main" id="{42C8414D-30E1-2DF6-AE66-F77F1A0A9308}"/>
                    </a:ext>
                  </a:extLst>
                </p:cNvPr>
                <p:cNvSpPr/>
                <p:nvPr/>
              </p:nvSpPr>
              <p:spPr>
                <a:xfrm>
                  <a:off x="6958358" y="3544534"/>
                  <a:ext cx="337333" cy="192762"/>
                </a:xfrm>
                <a:custGeom>
                  <a:avLst/>
                  <a:gdLst>
                    <a:gd name="connsiteX0" fmla="*/ 0 w 273150"/>
                    <a:gd name="connsiteY0" fmla="*/ 126820 h 156086"/>
                    <a:gd name="connsiteX1" fmla="*/ 184650 w 273150"/>
                    <a:gd name="connsiteY1" fmla="*/ 0 h 156086"/>
                    <a:gd name="connsiteX2" fmla="*/ 195108 w 273150"/>
                    <a:gd name="connsiteY2" fmla="*/ 0 h 156086"/>
                    <a:gd name="connsiteX3" fmla="*/ 273151 w 273150"/>
                    <a:gd name="connsiteY3" fmla="*/ 39022 h 156086"/>
                    <a:gd name="connsiteX4" fmla="*/ 190913 w 273150"/>
                    <a:gd name="connsiteY4" fmla="*/ 85584 h 156086"/>
                    <a:gd name="connsiteX5" fmla="*/ 164573 w 273150"/>
                    <a:gd name="connsiteY5" fmla="*/ 114528 h 156086"/>
                    <a:gd name="connsiteX6" fmla="*/ 70658 w 273150"/>
                    <a:gd name="connsiteY6" fmla="*/ 156086 h 156086"/>
                    <a:gd name="connsiteX7" fmla="*/ 0 w 273150"/>
                    <a:gd name="connsiteY7" fmla="*/ 126820 h 156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3150" h="156086">
                      <a:moveTo>
                        <a:pt x="0" y="126820"/>
                      </a:moveTo>
                      <a:cubicBezTo>
                        <a:pt x="29386" y="50417"/>
                        <a:pt x="102790" y="1"/>
                        <a:pt x="184650" y="0"/>
                      </a:cubicBezTo>
                      <a:lnTo>
                        <a:pt x="195108" y="0"/>
                      </a:lnTo>
                      <a:cubicBezTo>
                        <a:pt x="225814" y="0"/>
                        <a:pt x="254727" y="14457"/>
                        <a:pt x="273151" y="39022"/>
                      </a:cubicBezTo>
                      <a:cubicBezTo>
                        <a:pt x="241468" y="45357"/>
                        <a:pt x="212647" y="61675"/>
                        <a:pt x="190913" y="85584"/>
                      </a:cubicBezTo>
                      <a:lnTo>
                        <a:pt x="164573" y="114528"/>
                      </a:lnTo>
                      <a:cubicBezTo>
                        <a:pt x="140516" y="140987"/>
                        <a:pt x="106418" y="156075"/>
                        <a:pt x="70658" y="156086"/>
                      </a:cubicBezTo>
                      <a:cubicBezTo>
                        <a:pt x="44156" y="156088"/>
                        <a:pt x="18739" y="145560"/>
                        <a:pt x="0" y="126820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1" name="Vrije vorm: vorm 60">
                  <a:extLst>
                    <a:ext uri="{FF2B5EF4-FFF2-40B4-BE49-F238E27FC236}">
                      <a16:creationId xmlns:a16="http://schemas.microsoft.com/office/drawing/2014/main" id="{0E9426B2-F1FB-28A0-0CD0-7E858599CCE7}"/>
                    </a:ext>
                  </a:extLst>
                </p:cNvPr>
                <p:cNvSpPr/>
                <p:nvPr/>
              </p:nvSpPr>
              <p:spPr>
                <a:xfrm>
                  <a:off x="6965804" y="3544534"/>
                  <a:ext cx="311648" cy="168666"/>
                </a:xfrm>
                <a:custGeom>
                  <a:avLst/>
                  <a:gdLst>
                    <a:gd name="connsiteX0" fmla="*/ 178621 w 252352"/>
                    <a:gd name="connsiteY0" fmla="*/ 0 h 136575"/>
                    <a:gd name="connsiteX1" fmla="*/ 0 w 252352"/>
                    <a:gd name="connsiteY1" fmla="*/ 112772 h 136575"/>
                    <a:gd name="connsiteX2" fmla="*/ 64629 w 252352"/>
                    <a:gd name="connsiteY2" fmla="*/ 136575 h 136575"/>
                    <a:gd name="connsiteX3" fmla="*/ 158574 w 252352"/>
                    <a:gd name="connsiteY3" fmla="*/ 95018 h 136575"/>
                    <a:gd name="connsiteX4" fmla="*/ 184913 w 252352"/>
                    <a:gd name="connsiteY4" fmla="*/ 66073 h 136575"/>
                    <a:gd name="connsiteX5" fmla="*/ 252352 w 252352"/>
                    <a:gd name="connsiteY5" fmla="*/ 23354 h 136575"/>
                    <a:gd name="connsiteX6" fmla="*/ 189079 w 252352"/>
                    <a:gd name="connsiteY6" fmla="*/ 0 h 136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2352" h="136575">
                      <a:moveTo>
                        <a:pt x="178621" y="0"/>
                      </a:moveTo>
                      <a:cubicBezTo>
                        <a:pt x="102317" y="5"/>
                        <a:pt x="32816" y="43885"/>
                        <a:pt x="0" y="112772"/>
                      </a:cubicBezTo>
                      <a:cubicBezTo>
                        <a:pt x="18039" y="128119"/>
                        <a:pt x="40945" y="136555"/>
                        <a:pt x="64629" y="136575"/>
                      </a:cubicBezTo>
                      <a:cubicBezTo>
                        <a:pt x="100400" y="136573"/>
                        <a:pt x="134510" y="121483"/>
                        <a:pt x="158574" y="95018"/>
                      </a:cubicBezTo>
                      <a:lnTo>
                        <a:pt x="184913" y="66073"/>
                      </a:lnTo>
                      <a:cubicBezTo>
                        <a:pt x="203158" y="46047"/>
                        <a:pt x="226450" y="31292"/>
                        <a:pt x="252352" y="23354"/>
                      </a:cubicBezTo>
                      <a:cubicBezTo>
                        <a:pt x="234709" y="8294"/>
                        <a:pt x="212276" y="14"/>
                        <a:pt x="189079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2" name="Vrije vorm: vorm 61">
                  <a:extLst>
                    <a:ext uri="{FF2B5EF4-FFF2-40B4-BE49-F238E27FC236}">
                      <a16:creationId xmlns:a16="http://schemas.microsoft.com/office/drawing/2014/main" id="{77DB6CD4-92AA-9B6A-0477-6B291068E2DA}"/>
                    </a:ext>
                  </a:extLst>
                </p:cNvPr>
                <p:cNvSpPr/>
                <p:nvPr/>
              </p:nvSpPr>
              <p:spPr>
                <a:xfrm>
                  <a:off x="6765596" y="3460201"/>
                  <a:ext cx="168666" cy="144571"/>
                </a:xfrm>
                <a:custGeom>
                  <a:avLst/>
                  <a:gdLst>
                    <a:gd name="connsiteX0" fmla="*/ 136575 w 136575"/>
                    <a:gd name="connsiteY0" fmla="*/ 117065 h 117064"/>
                    <a:gd name="connsiteX1" fmla="*/ 136575 w 136575"/>
                    <a:gd name="connsiteY1" fmla="*/ 76463 h 117064"/>
                    <a:gd name="connsiteX2" fmla="*/ 60113 w 136575"/>
                    <a:gd name="connsiteY2" fmla="*/ 0 h 117064"/>
                    <a:gd name="connsiteX3" fmla="*/ 0 w 136575"/>
                    <a:gd name="connsiteY3" fmla="*/ 9755 h 117064"/>
                    <a:gd name="connsiteX4" fmla="*/ 35958 w 136575"/>
                    <a:gd name="connsiteY4" fmla="*/ 49626 h 117064"/>
                    <a:gd name="connsiteX5" fmla="*/ 107504 w 136575"/>
                    <a:gd name="connsiteY5" fmla="*/ 113836 h 117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6575" h="117064">
                      <a:moveTo>
                        <a:pt x="136575" y="117065"/>
                      </a:moveTo>
                      <a:lnTo>
                        <a:pt x="136575" y="76463"/>
                      </a:lnTo>
                      <a:cubicBezTo>
                        <a:pt x="136575" y="34234"/>
                        <a:pt x="102342" y="0"/>
                        <a:pt x="60113" y="0"/>
                      </a:cubicBezTo>
                      <a:cubicBezTo>
                        <a:pt x="39681" y="3"/>
                        <a:pt x="19384" y="3297"/>
                        <a:pt x="0" y="9755"/>
                      </a:cubicBezTo>
                      <a:cubicBezTo>
                        <a:pt x="18156" y="15809"/>
                        <a:pt x="31805" y="30943"/>
                        <a:pt x="35958" y="49626"/>
                      </a:cubicBezTo>
                      <a:cubicBezTo>
                        <a:pt x="43629" y="84123"/>
                        <a:pt x="72382" y="109928"/>
                        <a:pt x="107504" y="113836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3" name="Vrije vorm: vorm 62">
                  <a:extLst>
                    <a:ext uri="{FF2B5EF4-FFF2-40B4-BE49-F238E27FC236}">
                      <a16:creationId xmlns:a16="http://schemas.microsoft.com/office/drawing/2014/main" id="{441BEF05-6E40-0445-1787-DCADAFEBADD3}"/>
                    </a:ext>
                  </a:extLst>
                </p:cNvPr>
                <p:cNvSpPr/>
                <p:nvPr/>
              </p:nvSpPr>
              <p:spPr>
                <a:xfrm>
                  <a:off x="6792535" y="3460201"/>
                  <a:ext cx="141728" cy="120475"/>
                </a:xfrm>
                <a:custGeom>
                  <a:avLst/>
                  <a:gdLst>
                    <a:gd name="connsiteX0" fmla="*/ 38300 w 114762"/>
                    <a:gd name="connsiteY0" fmla="*/ 0 h 97553"/>
                    <a:gd name="connsiteX1" fmla="*/ 0 w 114762"/>
                    <a:gd name="connsiteY1" fmla="*/ 4058 h 97553"/>
                    <a:gd name="connsiteX2" fmla="*/ 14145 w 114762"/>
                    <a:gd name="connsiteY2" fmla="*/ 30115 h 97553"/>
                    <a:gd name="connsiteX3" fmla="*/ 85691 w 114762"/>
                    <a:gd name="connsiteY3" fmla="*/ 94325 h 97553"/>
                    <a:gd name="connsiteX4" fmla="*/ 114762 w 114762"/>
                    <a:gd name="connsiteY4" fmla="*/ 97554 h 97553"/>
                    <a:gd name="connsiteX5" fmla="*/ 114762 w 114762"/>
                    <a:gd name="connsiteY5" fmla="*/ 76463 h 97553"/>
                    <a:gd name="connsiteX6" fmla="*/ 38300 w 114762"/>
                    <a:gd name="connsiteY6" fmla="*/ 0 h 97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4762" h="97553">
                      <a:moveTo>
                        <a:pt x="38300" y="0"/>
                      </a:moveTo>
                      <a:cubicBezTo>
                        <a:pt x="25429" y="50"/>
                        <a:pt x="12596" y="1410"/>
                        <a:pt x="0" y="4058"/>
                      </a:cubicBezTo>
                      <a:cubicBezTo>
                        <a:pt x="7038" y="11266"/>
                        <a:pt x="11935" y="20287"/>
                        <a:pt x="14145" y="30115"/>
                      </a:cubicBezTo>
                      <a:cubicBezTo>
                        <a:pt x="21816" y="64612"/>
                        <a:pt x="50569" y="90417"/>
                        <a:pt x="85691" y="94325"/>
                      </a:cubicBezTo>
                      <a:lnTo>
                        <a:pt x="114762" y="97554"/>
                      </a:lnTo>
                      <a:lnTo>
                        <a:pt x="114762" y="76463"/>
                      </a:lnTo>
                      <a:cubicBezTo>
                        <a:pt x="114762" y="34234"/>
                        <a:pt x="80529" y="0"/>
                        <a:pt x="3830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4" name="Vrije vorm: vorm 63">
                  <a:extLst>
                    <a:ext uri="{FF2B5EF4-FFF2-40B4-BE49-F238E27FC236}">
                      <a16:creationId xmlns:a16="http://schemas.microsoft.com/office/drawing/2014/main" id="{4F90C6D9-47E1-0000-CF93-C6A77215430C}"/>
                    </a:ext>
                  </a:extLst>
                </p:cNvPr>
                <p:cNvSpPr/>
                <p:nvPr/>
              </p:nvSpPr>
              <p:spPr>
                <a:xfrm>
                  <a:off x="6572833" y="3665011"/>
                  <a:ext cx="337333" cy="192762"/>
                </a:xfrm>
                <a:custGeom>
                  <a:avLst/>
                  <a:gdLst>
                    <a:gd name="connsiteX0" fmla="*/ 273151 w 273150"/>
                    <a:gd name="connsiteY0" fmla="*/ 126820 h 156086"/>
                    <a:gd name="connsiteX1" fmla="*/ 88501 w 273150"/>
                    <a:gd name="connsiteY1" fmla="*/ 0 h 156086"/>
                    <a:gd name="connsiteX2" fmla="*/ 78043 w 273150"/>
                    <a:gd name="connsiteY2" fmla="*/ 0 h 156086"/>
                    <a:gd name="connsiteX3" fmla="*/ 0 w 273150"/>
                    <a:gd name="connsiteY3" fmla="*/ 39022 h 156086"/>
                    <a:gd name="connsiteX4" fmla="*/ 82238 w 273150"/>
                    <a:gd name="connsiteY4" fmla="*/ 85584 h 156086"/>
                    <a:gd name="connsiteX5" fmla="*/ 108578 w 273150"/>
                    <a:gd name="connsiteY5" fmla="*/ 114528 h 156086"/>
                    <a:gd name="connsiteX6" fmla="*/ 202493 w 273150"/>
                    <a:gd name="connsiteY6" fmla="*/ 156086 h 156086"/>
                    <a:gd name="connsiteX7" fmla="*/ 273151 w 273150"/>
                    <a:gd name="connsiteY7" fmla="*/ 126820 h 156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3150" h="156086">
                      <a:moveTo>
                        <a:pt x="273151" y="126820"/>
                      </a:moveTo>
                      <a:cubicBezTo>
                        <a:pt x="243765" y="50417"/>
                        <a:pt x="170361" y="1"/>
                        <a:pt x="88501" y="0"/>
                      </a:cubicBezTo>
                      <a:lnTo>
                        <a:pt x="78043" y="0"/>
                      </a:lnTo>
                      <a:cubicBezTo>
                        <a:pt x="47337" y="0"/>
                        <a:pt x="18423" y="14457"/>
                        <a:pt x="0" y="39022"/>
                      </a:cubicBezTo>
                      <a:cubicBezTo>
                        <a:pt x="31683" y="45357"/>
                        <a:pt x="60504" y="61675"/>
                        <a:pt x="82238" y="85584"/>
                      </a:cubicBezTo>
                      <a:lnTo>
                        <a:pt x="108578" y="114528"/>
                      </a:lnTo>
                      <a:cubicBezTo>
                        <a:pt x="132635" y="140987"/>
                        <a:pt x="166733" y="156075"/>
                        <a:pt x="202493" y="156086"/>
                      </a:cubicBezTo>
                      <a:cubicBezTo>
                        <a:pt x="228995" y="156088"/>
                        <a:pt x="254412" y="145560"/>
                        <a:pt x="273151" y="126820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5" name="Vrije vorm: vorm 64">
                  <a:extLst>
                    <a:ext uri="{FF2B5EF4-FFF2-40B4-BE49-F238E27FC236}">
                      <a16:creationId xmlns:a16="http://schemas.microsoft.com/office/drawing/2014/main" id="{37068B89-D390-8C5F-CA34-2ECC73475EBB}"/>
                    </a:ext>
                  </a:extLst>
                </p:cNvPr>
                <p:cNvSpPr/>
                <p:nvPr/>
              </p:nvSpPr>
              <p:spPr>
                <a:xfrm>
                  <a:off x="6591109" y="3665011"/>
                  <a:ext cx="311612" cy="168666"/>
                </a:xfrm>
                <a:custGeom>
                  <a:avLst/>
                  <a:gdLst>
                    <a:gd name="connsiteX0" fmla="*/ 73702 w 252323"/>
                    <a:gd name="connsiteY0" fmla="*/ 0 h 136575"/>
                    <a:gd name="connsiteX1" fmla="*/ 63244 w 252323"/>
                    <a:gd name="connsiteY1" fmla="*/ 0 h 136575"/>
                    <a:gd name="connsiteX2" fmla="*/ 0 w 252323"/>
                    <a:gd name="connsiteY2" fmla="*/ 23354 h 136575"/>
                    <a:gd name="connsiteX3" fmla="*/ 67439 w 252323"/>
                    <a:gd name="connsiteY3" fmla="*/ 66073 h 136575"/>
                    <a:gd name="connsiteX4" fmla="*/ 93779 w 252323"/>
                    <a:gd name="connsiteY4" fmla="*/ 95018 h 136575"/>
                    <a:gd name="connsiteX5" fmla="*/ 187694 w 252323"/>
                    <a:gd name="connsiteY5" fmla="*/ 136575 h 136575"/>
                    <a:gd name="connsiteX6" fmla="*/ 252323 w 252323"/>
                    <a:gd name="connsiteY6" fmla="*/ 112772 h 136575"/>
                    <a:gd name="connsiteX7" fmla="*/ 73702 w 252323"/>
                    <a:gd name="connsiteY7" fmla="*/ 0 h 136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2323" h="136575">
                      <a:moveTo>
                        <a:pt x="73702" y="0"/>
                      </a:moveTo>
                      <a:lnTo>
                        <a:pt x="63244" y="0"/>
                      </a:lnTo>
                      <a:cubicBezTo>
                        <a:pt x="40057" y="21"/>
                        <a:pt x="17636" y="8301"/>
                        <a:pt x="0" y="23354"/>
                      </a:cubicBezTo>
                      <a:cubicBezTo>
                        <a:pt x="25902" y="31292"/>
                        <a:pt x="49194" y="46047"/>
                        <a:pt x="67439" y="66073"/>
                      </a:cubicBezTo>
                      <a:lnTo>
                        <a:pt x="93779" y="95018"/>
                      </a:lnTo>
                      <a:cubicBezTo>
                        <a:pt x="117836" y="121476"/>
                        <a:pt x="151934" y="136564"/>
                        <a:pt x="187694" y="136575"/>
                      </a:cubicBezTo>
                      <a:cubicBezTo>
                        <a:pt x="211378" y="136555"/>
                        <a:pt x="234284" y="128119"/>
                        <a:pt x="252323" y="112772"/>
                      </a:cubicBezTo>
                      <a:cubicBezTo>
                        <a:pt x="219508" y="43885"/>
                        <a:pt x="150006" y="5"/>
                        <a:pt x="73702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6" name="Vrije vorm: vorm 65">
                  <a:extLst>
                    <a:ext uri="{FF2B5EF4-FFF2-40B4-BE49-F238E27FC236}">
                      <a16:creationId xmlns:a16="http://schemas.microsoft.com/office/drawing/2014/main" id="{FAF41F65-FB07-7981-5F8B-D7B2166C0387}"/>
                    </a:ext>
                  </a:extLst>
                </p:cNvPr>
                <p:cNvSpPr/>
                <p:nvPr/>
              </p:nvSpPr>
              <p:spPr>
                <a:xfrm>
                  <a:off x="6982454" y="3339724"/>
                  <a:ext cx="96381" cy="60237"/>
                </a:xfrm>
                <a:custGeom>
                  <a:avLst/>
                  <a:gdLst>
                    <a:gd name="connsiteX0" fmla="*/ 78043 w 78043"/>
                    <a:gd name="connsiteY0" fmla="*/ 48777 h 48776"/>
                    <a:gd name="connsiteX1" fmla="*/ 29266 w 78043"/>
                    <a:gd name="connsiteY1" fmla="*/ 0 h 48776"/>
                    <a:gd name="connsiteX2" fmla="*/ 23550 w 78043"/>
                    <a:gd name="connsiteY2" fmla="*/ 0 h 48776"/>
                    <a:gd name="connsiteX3" fmla="*/ 0 w 78043"/>
                    <a:gd name="connsiteY3" fmla="*/ 9755 h 48776"/>
                    <a:gd name="connsiteX4" fmla="*/ 24242 w 78043"/>
                    <a:gd name="connsiteY4" fmla="*/ 28681 h 48776"/>
                    <a:gd name="connsiteX5" fmla="*/ 49977 w 78043"/>
                    <a:gd name="connsiteY5" fmla="*/ 48777 h 48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8043" h="48776">
                      <a:moveTo>
                        <a:pt x="78043" y="48777"/>
                      </a:moveTo>
                      <a:cubicBezTo>
                        <a:pt x="78043" y="21838"/>
                        <a:pt x="56205" y="0"/>
                        <a:pt x="29266" y="0"/>
                      </a:cubicBezTo>
                      <a:lnTo>
                        <a:pt x="23550" y="0"/>
                      </a:lnTo>
                      <a:cubicBezTo>
                        <a:pt x="14717" y="1"/>
                        <a:pt x="6246" y="3510"/>
                        <a:pt x="0" y="9755"/>
                      </a:cubicBezTo>
                      <a:cubicBezTo>
                        <a:pt x="11465" y="9757"/>
                        <a:pt x="21459" y="17559"/>
                        <a:pt x="24242" y="28681"/>
                      </a:cubicBezTo>
                      <a:cubicBezTo>
                        <a:pt x="27193" y="40491"/>
                        <a:pt x="37803" y="48777"/>
                        <a:pt x="49977" y="48777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7" name="Vrije vorm: vorm 66">
                  <a:extLst>
                    <a:ext uri="{FF2B5EF4-FFF2-40B4-BE49-F238E27FC236}">
                      <a16:creationId xmlns:a16="http://schemas.microsoft.com/office/drawing/2014/main" id="{1190366C-6AEC-E176-556F-445228AF86CD}"/>
                    </a:ext>
                  </a:extLst>
                </p:cNvPr>
                <p:cNvSpPr/>
                <p:nvPr/>
              </p:nvSpPr>
              <p:spPr>
                <a:xfrm>
                  <a:off x="6995803" y="3339724"/>
                  <a:ext cx="81827" cy="48190"/>
                </a:xfrm>
                <a:custGeom>
                  <a:avLst/>
                  <a:gdLst>
                    <a:gd name="connsiteX0" fmla="*/ 18457 w 66258"/>
                    <a:gd name="connsiteY0" fmla="*/ 0 h 39021"/>
                    <a:gd name="connsiteX1" fmla="*/ 12741 w 66258"/>
                    <a:gd name="connsiteY1" fmla="*/ 0 h 39021"/>
                    <a:gd name="connsiteX2" fmla="*/ 0 w 66258"/>
                    <a:gd name="connsiteY2" fmla="*/ 2536 h 39021"/>
                    <a:gd name="connsiteX3" fmla="*/ 13433 w 66258"/>
                    <a:gd name="connsiteY3" fmla="*/ 18925 h 39021"/>
                    <a:gd name="connsiteX4" fmla="*/ 39168 w 66258"/>
                    <a:gd name="connsiteY4" fmla="*/ 39022 h 39021"/>
                    <a:gd name="connsiteX5" fmla="*/ 66259 w 66258"/>
                    <a:gd name="connsiteY5" fmla="*/ 39022 h 39021"/>
                    <a:gd name="connsiteX6" fmla="*/ 18457 w 66258"/>
                    <a:gd name="connsiteY6" fmla="*/ 0 h 39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6258" h="39021">
                      <a:moveTo>
                        <a:pt x="18457" y="0"/>
                      </a:moveTo>
                      <a:lnTo>
                        <a:pt x="12741" y="0"/>
                      </a:lnTo>
                      <a:cubicBezTo>
                        <a:pt x="8368" y="-1"/>
                        <a:pt x="4039" y="861"/>
                        <a:pt x="0" y="2536"/>
                      </a:cubicBezTo>
                      <a:cubicBezTo>
                        <a:pt x="6695" y="5726"/>
                        <a:pt x="11620" y="11734"/>
                        <a:pt x="13433" y="18925"/>
                      </a:cubicBezTo>
                      <a:cubicBezTo>
                        <a:pt x="16384" y="30736"/>
                        <a:pt x="26994" y="39022"/>
                        <a:pt x="39168" y="39022"/>
                      </a:cubicBezTo>
                      <a:lnTo>
                        <a:pt x="66259" y="39022"/>
                      </a:lnTo>
                      <a:cubicBezTo>
                        <a:pt x="61622" y="16308"/>
                        <a:pt x="41639" y="-5"/>
                        <a:pt x="18457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8" name="Vrije vorm: vorm 67">
                  <a:extLst>
                    <a:ext uri="{FF2B5EF4-FFF2-40B4-BE49-F238E27FC236}">
                      <a16:creationId xmlns:a16="http://schemas.microsoft.com/office/drawing/2014/main" id="{6DF48D16-31D3-DBF4-E248-526DDBD441FF}"/>
                    </a:ext>
                  </a:extLst>
                </p:cNvPr>
                <p:cNvSpPr/>
                <p:nvPr/>
              </p:nvSpPr>
              <p:spPr>
                <a:xfrm>
                  <a:off x="6690394" y="3286125"/>
                  <a:ext cx="487736" cy="685028"/>
                </a:xfrm>
                <a:custGeom>
                  <a:avLst/>
                  <a:gdLst>
                    <a:gd name="connsiteX0" fmla="*/ 274663 w 394937"/>
                    <a:gd name="connsiteY0" fmla="*/ 496393 h 554691"/>
                    <a:gd name="connsiteX1" fmla="*/ 198083 w 394937"/>
                    <a:gd name="connsiteY1" fmla="*/ 356423 h 554691"/>
                    <a:gd name="connsiteX2" fmla="*/ 221340 w 394937"/>
                    <a:gd name="connsiteY2" fmla="*/ 344843 h 554691"/>
                    <a:gd name="connsiteX3" fmla="*/ 222569 w 394937"/>
                    <a:gd name="connsiteY3" fmla="*/ 344102 h 554691"/>
                    <a:gd name="connsiteX4" fmla="*/ 254216 w 394937"/>
                    <a:gd name="connsiteY4" fmla="*/ 321947 h 554691"/>
                    <a:gd name="connsiteX5" fmla="*/ 394937 w 394937"/>
                    <a:gd name="connsiteY5" fmla="*/ 257728 h 554691"/>
                    <a:gd name="connsiteX6" fmla="*/ 390216 w 394937"/>
                    <a:gd name="connsiteY6" fmla="*/ 238802 h 554691"/>
                    <a:gd name="connsiteX7" fmla="*/ 243036 w 394937"/>
                    <a:gd name="connsiteY7" fmla="*/ 305919 h 554691"/>
                    <a:gd name="connsiteX8" fmla="*/ 211975 w 394937"/>
                    <a:gd name="connsiteY8" fmla="*/ 327664 h 554691"/>
                    <a:gd name="connsiteX9" fmla="*/ 197820 w 394937"/>
                    <a:gd name="connsiteY9" fmla="*/ 334737 h 554691"/>
                    <a:gd name="connsiteX10" fmla="*/ 253991 w 394937"/>
                    <a:gd name="connsiteY10" fmla="*/ 205536 h 554691"/>
                    <a:gd name="connsiteX11" fmla="*/ 296037 w 394937"/>
                    <a:gd name="connsiteY11" fmla="*/ 163500 h 554691"/>
                    <a:gd name="connsiteX12" fmla="*/ 306768 w 394937"/>
                    <a:gd name="connsiteY12" fmla="*/ 151170 h 554691"/>
                    <a:gd name="connsiteX13" fmla="*/ 361720 w 394937"/>
                    <a:gd name="connsiteY13" fmla="*/ 160330 h 554691"/>
                    <a:gd name="connsiteX14" fmla="*/ 364920 w 394937"/>
                    <a:gd name="connsiteY14" fmla="*/ 141092 h 554691"/>
                    <a:gd name="connsiteX15" fmla="*/ 318523 w 394937"/>
                    <a:gd name="connsiteY15" fmla="*/ 133356 h 554691"/>
                    <a:gd name="connsiteX16" fmla="*/ 334044 w 394937"/>
                    <a:gd name="connsiteY16" fmla="*/ 71692 h 554691"/>
                    <a:gd name="connsiteX17" fmla="*/ 320387 w 394937"/>
                    <a:gd name="connsiteY17" fmla="*/ 13658 h 554691"/>
                    <a:gd name="connsiteX18" fmla="*/ 313558 w 394937"/>
                    <a:gd name="connsiteY18" fmla="*/ 0 h 554691"/>
                    <a:gd name="connsiteX19" fmla="*/ 296096 w 394937"/>
                    <a:gd name="connsiteY19" fmla="*/ 8721 h 554691"/>
                    <a:gd name="connsiteX20" fmla="*/ 302924 w 394937"/>
                    <a:gd name="connsiteY20" fmla="*/ 22379 h 554691"/>
                    <a:gd name="connsiteX21" fmla="*/ 314533 w 394937"/>
                    <a:gd name="connsiteY21" fmla="*/ 71692 h 554691"/>
                    <a:gd name="connsiteX22" fmla="*/ 282233 w 394937"/>
                    <a:gd name="connsiteY22" fmla="*/ 149736 h 554691"/>
                    <a:gd name="connsiteX23" fmla="*/ 240197 w 394937"/>
                    <a:gd name="connsiteY23" fmla="*/ 191781 h 554691"/>
                    <a:gd name="connsiteX24" fmla="*/ 201966 w 394937"/>
                    <a:gd name="connsiteY24" fmla="*/ 243885 h 554691"/>
                    <a:gd name="connsiteX25" fmla="*/ 194357 w 394937"/>
                    <a:gd name="connsiteY25" fmla="*/ 226023 h 554691"/>
                    <a:gd name="connsiteX26" fmla="*/ 133542 w 394937"/>
                    <a:gd name="connsiteY26" fmla="*/ 161530 h 554691"/>
                    <a:gd name="connsiteX27" fmla="*/ 124820 w 394937"/>
                    <a:gd name="connsiteY27" fmla="*/ 178992 h 554691"/>
                    <a:gd name="connsiteX28" fmla="*/ 176426 w 394937"/>
                    <a:gd name="connsiteY28" fmla="*/ 233710 h 554691"/>
                    <a:gd name="connsiteX29" fmla="*/ 191245 w 394937"/>
                    <a:gd name="connsiteY29" fmla="*/ 268468 h 554691"/>
                    <a:gd name="connsiteX30" fmla="*/ 198688 w 394937"/>
                    <a:gd name="connsiteY30" fmla="*/ 433120 h 554691"/>
                    <a:gd name="connsiteX31" fmla="*/ 182962 w 394937"/>
                    <a:gd name="connsiteY31" fmla="*/ 425257 h 554691"/>
                    <a:gd name="connsiteX32" fmla="*/ 151901 w 394937"/>
                    <a:gd name="connsiteY32" fmla="*/ 403473 h 554691"/>
                    <a:gd name="connsiteX33" fmla="*/ 4722 w 394937"/>
                    <a:gd name="connsiteY33" fmla="*/ 336356 h 554691"/>
                    <a:gd name="connsiteX34" fmla="*/ 0 w 394937"/>
                    <a:gd name="connsiteY34" fmla="*/ 355282 h 554691"/>
                    <a:gd name="connsiteX35" fmla="*/ 140722 w 394937"/>
                    <a:gd name="connsiteY35" fmla="*/ 419453 h 554691"/>
                    <a:gd name="connsiteX36" fmla="*/ 172368 w 394937"/>
                    <a:gd name="connsiteY36" fmla="*/ 441607 h 554691"/>
                    <a:gd name="connsiteX37" fmla="*/ 173597 w 394937"/>
                    <a:gd name="connsiteY37" fmla="*/ 442348 h 554691"/>
                    <a:gd name="connsiteX38" fmla="*/ 216579 w 394937"/>
                    <a:gd name="connsiteY38" fmla="*/ 463810 h 554691"/>
                    <a:gd name="connsiteX39" fmla="*/ 262966 w 394937"/>
                    <a:gd name="connsiteY39" fmla="*/ 511973 h 554691"/>
                    <a:gd name="connsiteX40" fmla="*/ 282145 w 394937"/>
                    <a:gd name="connsiteY40" fmla="*/ 526352 h 554691"/>
                    <a:gd name="connsiteX41" fmla="*/ 318240 w 394937"/>
                    <a:gd name="connsiteY41" fmla="*/ 554692 h 554691"/>
                    <a:gd name="connsiteX42" fmla="*/ 330279 w 394937"/>
                    <a:gd name="connsiteY42" fmla="*/ 539337 h 554691"/>
                    <a:gd name="connsiteX43" fmla="*/ 294047 w 394937"/>
                    <a:gd name="connsiteY43" fmla="*/ 510909 h 554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394937" h="554691">
                      <a:moveTo>
                        <a:pt x="274663" y="496393"/>
                      </a:moveTo>
                      <a:cubicBezTo>
                        <a:pt x="230241" y="462881"/>
                        <a:pt x="202351" y="411904"/>
                        <a:pt x="198083" y="356423"/>
                      </a:cubicBezTo>
                      <a:lnTo>
                        <a:pt x="221340" y="344843"/>
                      </a:lnTo>
                      <a:cubicBezTo>
                        <a:pt x="221767" y="344627"/>
                        <a:pt x="222178" y="344379"/>
                        <a:pt x="222569" y="344102"/>
                      </a:cubicBezTo>
                      <a:lnTo>
                        <a:pt x="254216" y="321947"/>
                      </a:lnTo>
                      <a:cubicBezTo>
                        <a:pt x="296787" y="292092"/>
                        <a:pt x="344489" y="270323"/>
                        <a:pt x="394937" y="257728"/>
                      </a:cubicBezTo>
                      <a:lnTo>
                        <a:pt x="390216" y="238802"/>
                      </a:lnTo>
                      <a:cubicBezTo>
                        <a:pt x="337453" y="251953"/>
                        <a:pt x="287561" y="274704"/>
                        <a:pt x="243036" y="305919"/>
                      </a:cubicBezTo>
                      <a:lnTo>
                        <a:pt x="211975" y="327664"/>
                      </a:lnTo>
                      <a:lnTo>
                        <a:pt x="197820" y="334737"/>
                      </a:lnTo>
                      <a:cubicBezTo>
                        <a:pt x="199447" y="286097"/>
                        <a:pt x="219531" y="239901"/>
                        <a:pt x="253991" y="205536"/>
                      </a:cubicBezTo>
                      <a:lnTo>
                        <a:pt x="296037" y="163500"/>
                      </a:lnTo>
                      <a:cubicBezTo>
                        <a:pt x="299866" y="159616"/>
                        <a:pt x="303450" y="155498"/>
                        <a:pt x="306768" y="151170"/>
                      </a:cubicBezTo>
                      <a:lnTo>
                        <a:pt x="361720" y="160330"/>
                      </a:lnTo>
                      <a:lnTo>
                        <a:pt x="364920" y="141092"/>
                      </a:lnTo>
                      <a:lnTo>
                        <a:pt x="318523" y="133356"/>
                      </a:lnTo>
                      <a:cubicBezTo>
                        <a:pt x="328759" y="114418"/>
                        <a:pt x="334094" y="93220"/>
                        <a:pt x="334044" y="71692"/>
                      </a:cubicBezTo>
                      <a:cubicBezTo>
                        <a:pt x="334036" y="51552"/>
                        <a:pt x="329361" y="31688"/>
                        <a:pt x="320387" y="13658"/>
                      </a:cubicBezTo>
                      <a:lnTo>
                        <a:pt x="313558" y="0"/>
                      </a:lnTo>
                      <a:lnTo>
                        <a:pt x="296096" y="8721"/>
                      </a:lnTo>
                      <a:lnTo>
                        <a:pt x="302924" y="22379"/>
                      </a:lnTo>
                      <a:cubicBezTo>
                        <a:pt x="310549" y="37700"/>
                        <a:pt x="314522" y="54579"/>
                        <a:pt x="314533" y="71692"/>
                      </a:cubicBezTo>
                      <a:cubicBezTo>
                        <a:pt x="314634" y="100979"/>
                        <a:pt x="303001" y="129086"/>
                        <a:pt x="282233" y="149736"/>
                      </a:cubicBezTo>
                      <a:lnTo>
                        <a:pt x="240197" y="191781"/>
                      </a:lnTo>
                      <a:cubicBezTo>
                        <a:pt x="224877" y="207103"/>
                        <a:pt x="211984" y="224673"/>
                        <a:pt x="201966" y="243885"/>
                      </a:cubicBezTo>
                      <a:lnTo>
                        <a:pt x="194357" y="226023"/>
                      </a:lnTo>
                      <a:cubicBezTo>
                        <a:pt x="182329" y="198023"/>
                        <a:pt x="160787" y="175179"/>
                        <a:pt x="133542" y="161530"/>
                      </a:cubicBezTo>
                      <a:lnTo>
                        <a:pt x="124820" y="178992"/>
                      </a:lnTo>
                      <a:cubicBezTo>
                        <a:pt x="147944" y="190565"/>
                        <a:pt x="166225" y="209949"/>
                        <a:pt x="176426" y="233710"/>
                      </a:cubicBezTo>
                      <a:lnTo>
                        <a:pt x="191245" y="268468"/>
                      </a:lnTo>
                      <a:cubicBezTo>
                        <a:pt x="171230" y="322081"/>
                        <a:pt x="173918" y="381532"/>
                        <a:pt x="198688" y="433120"/>
                      </a:cubicBezTo>
                      <a:lnTo>
                        <a:pt x="182962" y="425257"/>
                      </a:lnTo>
                      <a:lnTo>
                        <a:pt x="151901" y="403473"/>
                      </a:lnTo>
                      <a:cubicBezTo>
                        <a:pt x="107376" y="372258"/>
                        <a:pt x="57485" y="349507"/>
                        <a:pt x="4722" y="336356"/>
                      </a:cubicBezTo>
                      <a:lnTo>
                        <a:pt x="0" y="355282"/>
                      </a:lnTo>
                      <a:cubicBezTo>
                        <a:pt x="50445" y="367862"/>
                        <a:pt x="98146" y="389614"/>
                        <a:pt x="140722" y="419453"/>
                      </a:cubicBezTo>
                      <a:lnTo>
                        <a:pt x="172368" y="441607"/>
                      </a:lnTo>
                      <a:cubicBezTo>
                        <a:pt x="172759" y="441884"/>
                        <a:pt x="173170" y="442132"/>
                        <a:pt x="173597" y="442348"/>
                      </a:cubicBezTo>
                      <a:lnTo>
                        <a:pt x="216579" y="463810"/>
                      </a:lnTo>
                      <a:cubicBezTo>
                        <a:pt x="229389" y="482223"/>
                        <a:pt x="245047" y="498480"/>
                        <a:pt x="262966" y="511973"/>
                      </a:cubicBezTo>
                      <a:lnTo>
                        <a:pt x="282145" y="526352"/>
                      </a:lnTo>
                      <a:lnTo>
                        <a:pt x="318240" y="554692"/>
                      </a:lnTo>
                      <a:lnTo>
                        <a:pt x="330279" y="539337"/>
                      </a:lnTo>
                      <a:lnTo>
                        <a:pt x="294047" y="510909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69" name="Vrije vorm: vorm 68">
                  <a:extLst>
                    <a:ext uri="{FF2B5EF4-FFF2-40B4-BE49-F238E27FC236}">
                      <a16:creationId xmlns:a16="http://schemas.microsoft.com/office/drawing/2014/main" id="{BFCD6AC2-87FC-34F6-E839-068064E630F0}"/>
                    </a:ext>
                  </a:extLst>
                </p:cNvPr>
                <p:cNvSpPr/>
                <p:nvPr/>
              </p:nvSpPr>
              <p:spPr>
                <a:xfrm>
                  <a:off x="6934263" y="3905964"/>
                  <a:ext cx="289143" cy="120475"/>
                </a:xfrm>
                <a:custGeom>
                  <a:avLst/>
                  <a:gdLst>
                    <a:gd name="connsiteX0" fmla="*/ 0 w 234129"/>
                    <a:gd name="connsiteY0" fmla="*/ 97554 h 97553"/>
                    <a:gd name="connsiteX1" fmla="*/ 5151 w 234129"/>
                    <a:gd name="connsiteY1" fmla="*/ 76951 h 97553"/>
                    <a:gd name="connsiteX2" fmla="*/ 27764 w 234129"/>
                    <a:gd name="connsiteY2" fmla="*/ 52562 h 97553"/>
                    <a:gd name="connsiteX3" fmla="*/ 45606 w 234129"/>
                    <a:gd name="connsiteY3" fmla="*/ 38904 h 97553"/>
                    <a:gd name="connsiteX4" fmla="*/ 48162 w 234129"/>
                    <a:gd name="connsiteY4" fmla="*/ 35061 h 97553"/>
                    <a:gd name="connsiteX5" fmla="*/ 77224 w 234129"/>
                    <a:gd name="connsiteY5" fmla="*/ 19511 h 97553"/>
                    <a:gd name="connsiteX6" fmla="*/ 96598 w 234129"/>
                    <a:gd name="connsiteY6" fmla="*/ 13658 h 97553"/>
                    <a:gd name="connsiteX7" fmla="*/ 108304 w 234129"/>
                    <a:gd name="connsiteY7" fmla="*/ 5853 h 97553"/>
                    <a:gd name="connsiteX8" fmla="*/ 127679 w 234129"/>
                    <a:gd name="connsiteY8" fmla="*/ 0 h 97553"/>
                    <a:gd name="connsiteX9" fmla="*/ 156740 w 234129"/>
                    <a:gd name="connsiteY9" fmla="*/ 15550 h 97553"/>
                    <a:gd name="connsiteX10" fmla="*/ 182328 w 234129"/>
                    <a:gd name="connsiteY10" fmla="*/ 29266 h 97553"/>
                    <a:gd name="connsiteX11" fmla="*/ 202200 w 234129"/>
                    <a:gd name="connsiteY11" fmla="*/ 39900 h 97553"/>
                    <a:gd name="connsiteX12" fmla="*/ 210131 w 234129"/>
                    <a:gd name="connsiteY12" fmla="*/ 51811 h 97553"/>
                    <a:gd name="connsiteX13" fmla="*/ 220335 w 234129"/>
                    <a:gd name="connsiteY13" fmla="*/ 64249 h 97553"/>
                    <a:gd name="connsiteX14" fmla="*/ 234129 w 234129"/>
                    <a:gd name="connsiteY14" fmla="*/ 97554 h 97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34129" h="97553">
                      <a:moveTo>
                        <a:pt x="0" y="97554"/>
                      </a:moveTo>
                      <a:lnTo>
                        <a:pt x="5151" y="76951"/>
                      </a:lnTo>
                      <a:cubicBezTo>
                        <a:pt x="8025" y="65490"/>
                        <a:pt x="16553" y="56292"/>
                        <a:pt x="27764" y="52562"/>
                      </a:cubicBezTo>
                      <a:cubicBezTo>
                        <a:pt x="35063" y="50118"/>
                        <a:pt x="41341" y="45313"/>
                        <a:pt x="45606" y="38904"/>
                      </a:cubicBezTo>
                      <a:lnTo>
                        <a:pt x="48162" y="35061"/>
                      </a:lnTo>
                      <a:cubicBezTo>
                        <a:pt x="54641" y="25345"/>
                        <a:pt x="65546" y="19510"/>
                        <a:pt x="77224" y="19511"/>
                      </a:cubicBezTo>
                      <a:cubicBezTo>
                        <a:pt x="84118" y="19515"/>
                        <a:pt x="90859" y="17478"/>
                        <a:pt x="96598" y="13658"/>
                      </a:cubicBezTo>
                      <a:lnTo>
                        <a:pt x="108304" y="5853"/>
                      </a:lnTo>
                      <a:cubicBezTo>
                        <a:pt x="114043" y="2033"/>
                        <a:pt x="120784" y="-4"/>
                        <a:pt x="127679" y="0"/>
                      </a:cubicBezTo>
                      <a:cubicBezTo>
                        <a:pt x="139356" y="-1"/>
                        <a:pt x="150262" y="5834"/>
                        <a:pt x="156740" y="15550"/>
                      </a:cubicBezTo>
                      <a:cubicBezTo>
                        <a:pt x="162444" y="24108"/>
                        <a:pt x="172044" y="29253"/>
                        <a:pt x="182328" y="29266"/>
                      </a:cubicBezTo>
                      <a:cubicBezTo>
                        <a:pt x="190313" y="29267"/>
                        <a:pt x="197769" y="33257"/>
                        <a:pt x="202200" y="39900"/>
                      </a:cubicBezTo>
                      <a:lnTo>
                        <a:pt x="210131" y="51811"/>
                      </a:lnTo>
                      <a:cubicBezTo>
                        <a:pt x="213117" y="56281"/>
                        <a:pt x="216535" y="60447"/>
                        <a:pt x="220335" y="64249"/>
                      </a:cubicBezTo>
                      <a:cubicBezTo>
                        <a:pt x="229168" y="73082"/>
                        <a:pt x="234130" y="85062"/>
                        <a:pt x="234129" y="97554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0" name="Vrije vorm: vorm 69">
                  <a:extLst>
                    <a:ext uri="{FF2B5EF4-FFF2-40B4-BE49-F238E27FC236}">
                      <a16:creationId xmlns:a16="http://schemas.microsoft.com/office/drawing/2014/main" id="{53436730-E6E5-C881-4FD2-F0D0E0CDF784}"/>
                    </a:ext>
                  </a:extLst>
                </p:cNvPr>
                <p:cNvSpPr/>
                <p:nvPr/>
              </p:nvSpPr>
              <p:spPr>
                <a:xfrm>
                  <a:off x="6985465" y="3921132"/>
                  <a:ext cx="237940" cy="105307"/>
                </a:xfrm>
                <a:custGeom>
                  <a:avLst/>
                  <a:gdLst>
                    <a:gd name="connsiteX0" fmla="*/ 2712 w 192668"/>
                    <a:gd name="connsiteY0" fmla="*/ 74424 h 85271"/>
                    <a:gd name="connsiteX1" fmla="*/ 0 w 192668"/>
                    <a:gd name="connsiteY1" fmla="*/ 85272 h 85271"/>
                    <a:gd name="connsiteX2" fmla="*/ 192669 w 192668"/>
                    <a:gd name="connsiteY2" fmla="*/ 85272 h 85271"/>
                    <a:gd name="connsiteX3" fmla="*/ 178875 w 192668"/>
                    <a:gd name="connsiteY3" fmla="*/ 51967 h 85271"/>
                    <a:gd name="connsiteX4" fmla="*/ 168671 w 192668"/>
                    <a:gd name="connsiteY4" fmla="*/ 39529 h 85271"/>
                    <a:gd name="connsiteX5" fmla="*/ 160740 w 192668"/>
                    <a:gd name="connsiteY5" fmla="*/ 27617 h 85271"/>
                    <a:gd name="connsiteX6" fmla="*/ 140868 w 192668"/>
                    <a:gd name="connsiteY6" fmla="*/ 16984 h 85271"/>
                    <a:gd name="connsiteX7" fmla="*/ 115240 w 192668"/>
                    <a:gd name="connsiteY7" fmla="*/ 3268 h 85271"/>
                    <a:gd name="connsiteX8" fmla="*/ 112411 w 192668"/>
                    <a:gd name="connsiteY8" fmla="*/ 0 h 85271"/>
                    <a:gd name="connsiteX9" fmla="*/ 105827 w 192668"/>
                    <a:gd name="connsiteY9" fmla="*/ 3336 h 85271"/>
                    <a:gd name="connsiteX10" fmla="*/ 94120 w 192668"/>
                    <a:gd name="connsiteY10" fmla="*/ 11141 h 85271"/>
                    <a:gd name="connsiteX11" fmla="*/ 74746 w 192668"/>
                    <a:gd name="connsiteY11" fmla="*/ 16994 h 85271"/>
                    <a:gd name="connsiteX12" fmla="*/ 45684 w 192668"/>
                    <a:gd name="connsiteY12" fmla="*/ 32544 h 85271"/>
                    <a:gd name="connsiteX13" fmla="*/ 43129 w 192668"/>
                    <a:gd name="connsiteY13" fmla="*/ 36388 h 85271"/>
                    <a:gd name="connsiteX14" fmla="*/ 25286 w 192668"/>
                    <a:gd name="connsiteY14" fmla="*/ 50045 h 85271"/>
                    <a:gd name="connsiteX15" fmla="*/ 2712 w 192668"/>
                    <a:gd name="connsiteY15" fmla="*/ 74424 h 85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92668" h="85271">
                      <a:moveTo>
                        <a:pt x="2712" y="74424"/>
                      </a:moveTo>
                      <a:lnTo>
                        <a:pt x="0" y="85272"/>
                      </a:lnTo>
                      <a:lnTo>
                        <a:pt x="192669" y="85272"/>
                      </a:lnTo>
                      <a:cubicBezTo>
                        <a:pt x="192669" y="72780"/>
                        <a:pt x="187708" y="60800"/>
                        <a:pt x="178875" y="51967"/>
                      </a:cubicBezTo>
                      <a:cubicBezTo>
                        <a:pt x="175074" y="48165"/>
                        <a:pt x="171656" y="43999"/>
                        <a:pt x="168671" y="39529"/>
                      </a:cubicBezTo>
                      <a:lnTo>
                        <a:pt x="160740" y="27617"/>
                      </a:lnTo>
                      <a:cubicBezTo>
                        <a:pt x="156309" y="20975"/>
                        <a:pt x="148852" y="16985"/>
                        <a:pt x="140868" y="16984"/>
                      </a:cubicBezTo>
                      <a:cubicBezTo>
                        <a:pt x="130569" y="16984"/>
                        <a:pt x="120952" y="11837"/>
                        <a:pt x="115240" y="3268"/>
                      </a:cubicBezTo>
                      <a:cubicBezTo>
                        <a:pt x="114369" y="2119"/>
                        <a:pt x="113424" y="1027"/>
                        <a:pt x="112411" y="0"/>
                      </a:cubicBezTo>
                      <a:cubicBezTo>
                        <a:pt x="110104" y="875"/>
                        <a:pt x="107897" y="1994"/>
                        <a:pt x="105827" y="3336"/>
                      </a:cubicBezTo>
                      <a:lnTo>
                        <a:pt x="94120" y="11141"/>
                      </a:lnTo>
                      <a:cubicBezTo>
                        <a:pt x="88381" y="14961"/>
                        <a:pt x="81640" y="16998"/>
                        <a:pt x="74746" y="16994"/>
                      </a:cubicBezTo>
                      <a:cubicBezTo>
                        <a:pt x="63068" y="16993"/>
                        <a:pt x="52163" y="22828"/>
                        <a:pt x="45684" y="32544"/>
                      </a:cubicBezTo>
                      <a:lnTo>
                        <a:pt x="43129" y="36388"/>
                      </a:lnTo>
                      <a:cubicBezTo>
                        <a:pt x="38863" y="42796"/>
                        <a:pt x="32585" y="47601"/>
                        <a:pt x="25286" y="50045"/>
                      </a:cubicBezTo>
                      <a:cubicBezTo>
                        <a:pt x="14093" y="53785"/>
                        <a:pt x="5581" y="62977"/>
                        <a:pt x="2712" y="74424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96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2" name="Vrije vorm: vorm 71">
                  <a:extLst>
                    <a:ext uri="{FF2B5EF4-FFF2-40B4-BE49-F238E27FC236}">
                      <a16:creationId xmlns:a16="http://schemas.microsoft.com/office/drawing/2014/main" id="{83CC15C9-0224-0959-AC22-551E48C71866}"/>
                    </a:ext>
                  </a:extLst>
                </p:cNvPr>
                <p:cNvSpPr/>
                <p:nvPr/>
              </p:nvSpPr>
              <p:spPr>
                <a:xfrm>
                  <a:off x="4809056" y="4714247"/>
                  <a:ext cx="344752" cy="43851"/>
                </a:xfrm>
                <a:custGeom>
                  <a:avLst/>
                  <a:gdLst>
                    <a:gd name="connsiteX0" fmla="*/ 0 w 515053"/>
                    <a:gd name="connsiteY0" fmla="*/ 65512 h 65512"/>
                    <a:gd name="connsiteX1" fmla="*/ 257527 w 515053"/>
                    <a:gd name="connsiteY1" fmla="*/ 0 h 65512"/>
                    <a:gd name="connsiteX2" fmla="*/ 515053 w 515053"/>
                    <a:gd name="connsiteY2" fmla="*/ 65512 h 65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5053" h="65512">
                      <a:moveTo>
                        <a:pt x="0" y="65512"/>
                      </a:moveTo>
                      <a:cubicBezTo>
                        <a:pt x="0" y="65095"/>
                        <a:pt x="76688" y="0"/>
                        <a:pt x="257527" y="0"/>
                      </a:cubicBezTo>
                      <a:cubicBezTo>
                        <a:pt x="433184" y="0"/>
                        <a:pt x="515053" y="65095"/>
                        <a:pt x="515053" y="6551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3" name="Vrije vorm: vorm 72">
                  <a:extLst>
                    <a:ext uri="{FF2B5EF4-FFF2-40B4-BE49-F238E27FC236}">
                      <a16:creationId xmlns:a16="http://schemas.microsoft.com/office/drawing/2014/main" id="{D9F417C3-B868-4E07-A0BB-2A8CEBFBFD38}"/>
                    </a:ext>
                  </a:extLst>
                </p:cNvPr>
                <p:cNvSpPr/>
                <p:nvPr/>
              </p:nvSpPr>
              <p:spPr>
                <a:xfrm>
                  <a:off x="4959707" y="4714247"/>
                  <a:ext cx="194102" cy="43851"/>
                </a:xfrm>
                <a:custGeom>
                  <a:avLst/>
                  <a:gdLst>
                    <a:gd name="connsiteX0" fmla="*/ 32458 w 289985"/>
                    <a:gd name="connsiteY0" fmla="*/ 0 h 65512"/>
                    <a:gd name="connsiteX1" fmla="*/ 0 w 289985"/>
                    <a:gd name="connsiteY1" fmla="*/ 722 h 65512"/>
                    <a:gd name="connsiteX2" fmla="*/ 225917 w 289985"/>
                    <a:gd name="connsiteY2" fmla="*/ 65512 h 65512"/>
                    <a:gd name="connsiteX3" fmla="*/ 289985 w 289985"/>
                    <a:gd name="connsiteY3" fmla="*/ 65512 h 65512"/>
                    <a:gd name="connsiteX4" fmla="*/ 32458 w 289985"/>
                    <a:gd name="connsiteY4" fmla="*/ 0 h 65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9985" h="65512">
                      <a:moveTo>
                        <a:pt x="32458" y="0"/>
                      </a:moveTo>
                      <a:cubicBezTo>
                        <a:pt x="21240" y="0"/>
                        <a:pt x="10424" y="251"/>
                        <a:pt x="0" y="722"/>
                      </a:cubicBezTo>
                      <a:cubicBezTo>
                        <a:pt x="153889" y="7829"/>
                        <a:pt x="225917" y="65120"/>
                        <a:pt x="225917" y="65512"/>
                      </a:cubicBezTo>
                      <a:lnTo>
                        <a:pt x="289985" y="65512"/>
                      </a:lnTo>
                      <a:cubicBezTo>
                        <a:pt x="289985" y="65095"/>
                        <a:pt x="208115" y="0"/>
                        <a:pt x="32458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4" name="Vrije vorm: vorm 73">
                  <a:extLst>
                    <a:ext uri="{FF2B5EF4-FFF2-40B4-BE49-F238E27FC236}">
                      <a16:creationId xmlns:a16="http://schemas.microsoft.com/office/drawing/2014/main" id="{B9EBA377-8BF1-11B4-D0DF-F94E9D38DCFA}"/>
                    </a:ext>
                  </a:extLst>
                </p:cNvPr>
                <p:cNvSpPr/>
                <p:nvPr/>
              </p:nvSpPr>
              <p:spPr>
                <a:xfrm>
                  <a:off x="4992431" y="4340192"/>
                  <a:ext cx="71619" cy="118349"/>
                </a:xfrm>
                <a:custGeom>
                  <a:avLst/>
                  <a:gdLst>
                    <a:gd name="connsiteX0" fmla="*/ 100513 w 106997"/>
                    <a:gd name="connsiteY0" fmla="*/ 105575 h 176812"/>
                    <a:gd name="connsiteX1" fmla="*/ 23097 w 106997"/>
                    <a:gd name="connsiteY1" fmla="*/ 176813 h 176812"/>
                    <a:gd name="connsiteX2" fmla="*/ 6092 w 106997"/>
                    <a:gd name="connsiteY2" fmla="*/ 72817 h 176812"/>
                    <a:gd name="connsiteX3" fmla="*/ 84053 w 106997"/>
                    <a:gd name="connsiteY3" fmla="*/ 0 h 176812"/>
                    <a:gd name="connsiteX4" fmla="*/ 100513 w 106997"/>
                    <a:gd name="connsiteY4" fmla="*/ 105575 h 176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997" h="176812">
                      <a:moveTo>
                        <a:pt x="100513" y="105575"/>
                      </a:moveTo>
                      <a:cubicBezTo>
                        <a:pt x="79560" y="166353"/>
                        <a:pt x="23097" y="176813"/>
                        <a:pt x="23097" y="176813"/>
                      </a:cubicBezTo>
                      <a:cubicBezTo>
                        <a:pt x="23097" y="176813"/>
                        <a:pt x="-14317" y="132017"/>
                        <a:pt x="6092" y="72817"/>
                      </a:cubicBezTo>
                      <a:cubicBezTo>
                        <a:pt x="27589" y="10458"/>
                        <a:pt x="84053" y="0"/>
                        <a:pt x="84053" y="0"/>
                      </a:cubicBezTo>
                      <a:cubicBezTo>
                        <a:pt x="84053" y="0"/>
                        <a:pt x="121740" y="44006"/>
                        <a:pt x="100513" y="105575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5" name="Vrije vorm: vorm 74">
                  <a:extLst>
                    <a:ext uri="{FF2B5EF4-FFF2-40B4-BE49-F238E27FC236}">
                      <a16:creationId xmlns:a16="http://schemas.microsoft.com/office/drawing/2014/main" id="{431A826A-663E-C9D5-E29A-B362F712A42D}"/>
                    </a:ext>
                  </a:extLst>
                </p:cNvPr>
                <p:cNvSpPr/>
                <p:nvPr/>
              </p:nvSpPr>
              <p:spPr>
                <a:xfrm>
                  <a:off x="5001891" y="4340192"/>
                  <a:ext cx="62158" cy="118348"/>
                </a:xfrm>
                <a:custGeom>
                  <a:avLst/>
                  <a:gdLst>
                    <a:gd name="connsiteX0" fmla="*/ 69919 w 92863"/>
                    <a:gd name="connsiteY0" fmla="*/ 0 h 176810"/>
                    <a:gd name="connsiteX1" fmla="*/ 37574 w 92863"/>
                    <a:gd name="connsiteY1" fmla="*/ 13924 h 176810"/>
                    <a:gd name="connsiteX2" fmla="*/ 44925 w 92863"/>
                    <a:gd name="connsiteY2" fmla="*/ 105573 h 176810"/>
                    <a:gd name="connsiteX3" fmla="*/ 0 w 92863"/>
                    <a:gd name="connsiteY3" fmla="*/ 162963 h 176810"/>
                    <a:gd name="connsiteX4" fmla="*/ 8964 w 92863"/>
                    <a:gd name="connsiteY4" fmla="*/ 176810 h 176810"/>
                    <a:gd name="connsiteX5" fmla="*/ 86381 w 92863"/>
                    <a:gd name="connsiteY5" fmla="*/ 105572 h 176810"/>
                    <a:gd name="connsiteX6" fmla="*/ 69919 w 92863"/>
                    <a:gd name="connsiteY6" fmla="*/ 0 h 176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863" h="176810">
                      <a:moveTo>
                        <a:pt x="69919" y="0"/>
                      </a:moveTo>
                      <a:cubicBezTo>
                        <a:pt x="69919" y="0"/>
                        <a:pt x="54996" y="2766"/>
                        <a:pt x="37574" y="13924"/>
                      </a:cubicBezTo>
                      <a:cubicBezTo>
                        <a:pt x="47147" y="31582"/>
                        <a:pt x="59014" y="64706"/>
                        <a:pt x="44925" y="105573"/>
                      </a:cubicBezTo>
                      <a:cubicBezTo>
                        <a:pt x="34789" y="134975"/>
                        <a:pt x="16344" y="152600"/>
                        <a:pt x="0" y="162963"/>
                      </a:cubicBezTo>
                      <a:cubicBezTo>
                        <a:pt x="4795" y="171814"/>
                        <a:pt x="8964" y="176810"/>
                        <a:pt x="8964" y="176810"/>
                      </a:cubicBezTo>
                      <a:cubicBezTo>
                        <a:pt x="8964" y="176810"/>
                        <a:pt x="65428" y="166352"/>
                        <a:pt x="86381" y="105572"/>
                      </a:cubicBezTo>
                      <a:cubicBezTo>
                        <a:pt x="107606" y="44006"/>
                        <a:pt x="69919" y="0"/>
                        <a:pt x="69919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6" name="Vrije vorm: vorm 75">
                  <a:extLst>
                    <a:ext uri="{FF2B5EF4-FFF2-40B4-BE49-F238E27FC236}">
                      <a16:creationId xmlns:a16="http://schemas.microsoft.com/office/drawing/2014/main" id="{53F792B0-8463-4EAA-D139-26CF5E4BADBE}"/>
                    </a:ext>
                  </a:extLst>
                </p:cNvPr>
                <p:cNvSpPr/>
                <p:nvPr/>
              </p:nvSpPr>
              <p:spPr>
                <a:xfrm>
                  <a:off x="4973485" y="4377749"/>
                  <a:ext cx="68267" cy="177110"/>
                </a:xfrm>
                <a:custGeom>
                  <a:avLst/>
                  <a:gdLst>
                    <a:gd name="connsiteX0" fmla="*/ 9426 w 101989"/>
                    <a:gd name="connsiteY0" fmla="*/ 264599 h 264599"/>
                    <a:gd name="connsiteX1" fmla="*/ 6609 w 101989"/>
                    <a:gd name="connsiteY1" fmla="*/ 264166 h 264599"/>
                    <a:gd name="connsiteX2" fmla="*/ 433 w 101989"/>
                    <a:gd name="connsiteY2" fmla="*/ 252360 h 264599"/>
                    <a:gd name="connsiteX3" fmla="*/ 83842 w 101989"/>
                    <a:gd name="connsiteY3" fmla="*/ 5867 h 264599"/>
                    <a:gd name="connsiteX4" fmla="*/ 96123 w 101989"/>
                    <a:gd name="connsiteY4" fmla="*/ 700 h 264599"/>
                    <a:gd name="connsiteX5" fmla="*/ 101289 w 101989"/>
                    <a:gd name="connsiteY5" fmla="*/ 12982 h 264599"/>
                    <a:gd name="connsiteX6" fmla="*/ 18413 w 101989"/>
                    <a:gd name="connsiteY6" fmla="*/ 257990 h 264599"/>
                    <a:gd name="connsiteX7" fmla="*/ 9426 w 101989"/>
                    <a:gd name="connsiteY7" fmla="*/ 264599 h 264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1989" h="264599">
                      <a:moveTo>
                        <a:pt x="9426" y="264599"/>
                      </a:moveTo>
                      <a:cubicBezTo>
                        <a:pt x="8494" y="264599"/>
                        <a:pt x="7545" y="264460"/>
                        <a:pt x="6609" y="264166"/>
                      </a:cubicBezTo>
                      <a:cubicBezTo>
                        <a:pt x="1644" y="262612"/>
                        <a:pt x="-1121" y="257326"/>
                        <a:pt x="433" y="252360"/>
                      </a:cubicBezTo>
                      <a:cubicBezTo>
                        <a:pt x="2740" y="244986"/>
                        <a:pt x="57274" y="71017"/>
                        <a:pt x="83842" y="5867"/>
                      </a:cubicBezTo>
                      <a:cubicBezTo>
                        <a:pt x="85806" y="1049"/>
                        <a:pt x="91303" y="-1265"/>
                        <a:pt x="96123" y="700"/>
                      </a:cubicBezTo>
                      <a:cubicBezTo>
                        <a:pt x="100942" y="2665"/>
                        <a:pt x="103255" y="8163"/>
                        <a:pt x="101289" y="12982"/>
                      </a:cubicBezTo>
                      <a:cubicBezTo>
                        <a:pt x="75020" y="77400"/>
                        <a:pt x="18977" y="256191"/>
                        <a:pt x="18413" y="257990"/>
                      </a:cubicBezTo>
                      <a:cubicBezTo>
                        <a:pt x="17153" y="262019"/>
                        <a:pt x="13436" y="264599"/>
                        <a:pt x="9426" y="264599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7" name="Vrije vorm: vorm 76">
                  <a:extLst>
                    <a:ext uri="{FF2B5EF4-FFF2-40B4-BE49-F238E27FC236}">
                      <a16:creationId xmlns:a16="http://schemas.microsoft.com/office/drawing/2014/main" id="{FB44EA62-60A6-2D01-6841-C690FD37DC5A}"/>
                    </a:ext>
                  </a:extLst>
                </p:cNvPr>
                <p:cNvSpPr/>
                <p:nvPr/>
              </p:nvSpPr>
              <p:spPr>
                <a:xfrm>
                  <a:off x="4973485" y="4539253"/>
                  <a:ext cx="12613" cy="202174"/>
                </a:xfrm>
                <a:custGeom>
                  <a:avLst/>
                  <a:gdLst>
                    <a:gd name="connsiteX0" fmla="*/ 9422 w 18843"/>
                    <a:gd name="connsiteY0" fmla="*/ 302045 h 302044"/>
                    <a:gd name="connsiteX1" fmla="*/ 0 w 18843"/>
                    <a:gd name="connsiteY1" fmla="*/ 292623 h 302044"/>
                    <a:gd name="connsiteX2" fmla="*/ 0 w 18843"/>
                    <a:gd name="connsiteY2" fmla="*/ 9422 h 302044"/>
                    <a:gd name="connsiteX3" fmla="*/ 9422 w 18843"/>
                    <a:gd name="connsiteY3" fmla="*/ 0 h 302044"/>
                    <a:gd name="connsiteX4" fmla="*/ 18843 w 18843"/>
                    <a:gd name="connsiteY4" fmla="*/ 9422 h 302044"/>
                    <a:gd name="connsiteX5" fmla="*/ 18843 w 18843"/>
                    <a:gd name="connsiteY5" fmla="*/ 292623 h 302044"/>
                    <a:gd name="connsiteX6" fmla="*/ 9422 w 18843"/>
                    <a:gd name="connsiteY6" fmla="*/ 302045 h 302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8843" h="302044">
                      <a:moveTo>
                        <a:pt x="9422" y="302045"/>
                      </a:moveTo>
                      <a:cubicBezTo>
                        <a:pt x="4217" y="302045"/>
                        <a:pt x="0" y="297826"/>
                        <a:pt x="0" y="292623"/>
                      </a:cubicBezTo>
                      <a:lnTo>
                        <a:pt x="0" y="9422"/>
                      </a:lnTo>
                      <a:cubicBezTo>
                        <a:pt x="0" y="4218"/>
                        <a:pt x="4217" y="0"/>
                        <a:pt x="9422" y="0"/>
                      </a:cubicBezTo>
                      <a:cubicBezTo>
                        <a:pt x="14626" y="0"/>
                        <a:pt x="18843" y="4218"/>
                        <a:pt x="18843" y="9422"/>
                      </a:cubicBezTo>
                      <a:lnTo>
                        <a:pt x="18843" y="292623"/>
                      </a:lnTo>
                      <a:cubicBezTo>
                        <a:pt x="18843" y="297826"/>
                        <a:pt x="14625" y="302045"/>
                        <a:pt x="9422" y="302045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8" name="Vrije vorm: vorm 77">
                  <a:extLst>
                    <a:ext uri="{FF2B5EF4-FFF2-40B4-BE49-F238E27FC236}">
                      <a16:creationId xmlns:a16="http://schemas.microsoft.com/office/drawing/2014/main" id="{0E397A6C-4416-F14B-C6FC-FEF26978CCC4}"/>
                    </a:ext>
                  </a:extLst>
                </p:cNvPr>
                <p:cNvSpPr/>
                <p:nvPr/>
              </p:nvSpPr>
              <p:spPr>
                <a:xfrm>
                  <a:off x="4979792" y="4460820"/>
                  <a:ext cx="141483" cy="142453"/>
                </a:xfrm>
                <a:custGeom>
                  <a:avLst/>
                  <a:gdLst>
                    <a:gd name="connsiteX0" fmla="*/ 63100 w 211373"/>
                    <a:gd name="connsiteY0" fmla="*/ 211092 h 212822"/>
                    <a:gd name="connsiteX1" fmla="*/ 3338 w 211373"/>
                    <a:gd name="connsiteY1" fmla="*/ 208953 h 212822"/>
                    <a:gd name="connsiteX2" fmla="*/ 49910 w 211373"/>
                    <a:gd name="connsiteY2" fmla="*/ 52305 h 212822"/>
                    <a:gd name="connsiteX3" fmla="*/ 207890 w 211373"/>
                    <a:gd name="connsiteY3" fmla="*/ 3753 h 212822"/>
                    <a:gd name="connsiteX4" fmla="*/ 176823 w 211373"/>
                    <a:gd name="connsiteY4" fmla="*/ 142238 h 212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373" h="212822">
                      <a:moveTo>
                        <a:pt x="63100" y="211092"/>
                      </a:moveTo>
                      <a:cubicBezTo>
                        <a:pt x="28678" y="215984"/>
                        <a:pt x="3338" y="208953"/>
                        <a:pt x="3338" y="208953"/>
                      </a:cubicBezTo>
                      <a:cubicBezTo>
                        <a:pt x="3338" y="208953"/>
                        <a:pt x="-18579" y="121010"/>
                        <a:pt x="49910" y="52305"/>
                      </a:cubicBezTo>
                      <a:cubicBezTo>
                        <a:pt x="122051" y="-20065"/>
                        <a:pt x="207890" y="3753"/>
                        <a:pt x="207890" y="3753"/>
                      </a:cubicBezTo>
                      <a:cubicBezTo>
                        <a:pt x="207890" y="3753"/>
                        <a:pt x="226720" y="75534"/>
                        <a:pt x="176823" y="142238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79" name="Vrije vorm: vorm 78">
                  <a:extLst>
                    <a:ext uri="{FF2B5EF4-FFF2-40B4-BE49-F238E27FC236}">
                      <a16:creationId xmlns:a16="http://schemas.microsoft.com/office/drawing/2014/main" id="{1BDDF515-5F36-4D20-83D1-34EA7118D9DF}"/>
                    </a:ext>
                  </a:extLst>
                </p:cNvPr>
                <p:cNvSpPr/>
                <p:nvPr/>
              </p:nvSpPr>
              <p:spPr>
                <a:xfrm>
                  <a:off x="4991779" y="4460823"/>
                  <a:ext cx="129496" cy="142451"/>
                </a:xfrm>
                <a:custGeom>
                  <a:avLst/>
                  <a:gdLst>
                    <a:gd name="connsiteX0" fmla="*/ 189982 w 193465"/>
                    <a:gd name="connsiteY0" fmla="*/ 3750 h 212819"/>
                    <a:gd name="connsiteX1" fmla="*/ 134754 w 193465"/>
                    <a:gd name="connsiteY1" fmla="*/ 1256 h 212819"/>
                    <a:gd name="connsiteX2" fmla="*/ 148526 w 193465"/>
                    <a:gd name="connsiteY2" fmla="*/ 3750 h 212819"/>
                    <a:gd name="connsiteX3" fmla="*/ 117459 w 193465"/>
                    <a:gd name="connsiteY3" fmla="*/ 142235 h 212819"/>
                    <a:gd name="connsiteX4" fmla="*/ 3736 w 193465"/>
                    <a:gd name="connsiteY4" fmla="*/ 211089 h 212819"/>
                    <a:gd name="connsiteX5" fmla="*/ 0 w 193465"/>
                    <a:gd name="connsiteY5" fmla="*/ 211574 h 212819"/>
                    <a:gd name="connsiteX6" fmla="*/ 45192 w 193465"/>
                    <a:gd name="connsiteY6" fmla="*/ 211089 h 212819"/>
                    <a:gd name="connsiteX7" fmla="*/ 158914 w 193465"/>
                    <a:gd name="connsiteY7" fmla="*/ 142235 h 212819"/>
                    <a:gd name="connsiteX8" fmla="*/ 189982 w 193465"/>
                    <a:gd name="connsiteY8" fmla="*/ 3750 h 212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3465" h="212819">
                      <a:moveTo>
                        <a:pt x="189982" y="3750"/>
                      </a:moveTo>
                      <a:cubicBezTo>
                        <a:pt x="189982" y="3750"/>
                        <a:pt x="166965" y="-2633"/>
                        <a:pt x="134754" y="1256"/>
                      </a:cubicBezTo>
                      <a:cubicBezTo>
                        <a:pt x="143454" y="2347"/>
                        <a:pt x="148526" y="3750"/>
                        <a:pt x="148526" y="3750"/>
                      </a:cubicBezTo>
                      <a:cubicBezTo>
                        <a:pt x="148526" y="3750"/>
                        <a:pt x="167356" y="75531"/>
                        <a:pt x="117459" y="142235"/>
                      </a:cubicBezTo>
                      <a:lnTo>
                        <a:pt x="3736" y="211089"/>
                      </a:lnTo>
                      <a:cubicBezTo>
                        <a:pt x="2477" y="211267"/>
                        <a:pt x="1234" y="211426"/>
                        <a:pt x="0" y="211574"/>
                      </a:cubicBezTo>
                      <a:cubicBezTo>
                        <a:pt x="10731" y="212897"/>
                        <a:pt x="26637" y="213726"/>
                        <a:pt x="45192" y="211089"/>
                      </a:cubicBezTo>
                      <a:lnTo>
                        <a:pt x="158914" y="142235"/>
                      </a:lnTo>
                      <a:cubicBezTo>
                        <a:pt x="208813" y="75529"/>
                        <a:pt x="189982" y="3750"/>
                        <a:pt x="189982" y="3750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0" name="Vrije vorm: vorm 79">
                  <a:extLst>
                    <a:ext uri="{FF2B5EF4-FFF2-40B4-BE49-F238E27FC236}">
                      <a16:creationId xmlns:a16="http://schemas.microsoft.com/office/drawing/2014/main" id="{6E51002D-B9B6-7D45-A511-293A735087F6}"/>
                    </a:ext>
                  </a:extLst>
                </p:cNvPr>
                <p:cNvSpPr/>
                <p:nvPr/>
              </p:nvSpPr>
              <p:spPr>
                <a:xfrm>
                  <a:off x="4841590" y="4551323"/>
                  <a:ext cx="119856" cy="102895"/>
                </a:xfrm>
                <a:custGeom>
                  <a:avLst/>
                  <a:gdLst>
                    <a:gd name="connsiteX0" fmla="*/ 127716 w 179063"/>
                    <a:gd name="connsiteY0" fmla="*/ 29762 h 153723"/>
                    <a:gd name="connsiteX1" fmla="*/ 178388 w 179063"/>
                    <a:gd name="connsiteY1" fmla="*/ 146938 h 153723"/>
                    <a:gd name="connsiteX2" fmla="*/ 52909 w 179063"/>
                    <a:gd name="connsiteY2" fmla="*/ 125281 h 153723"/>
                    <a:gd name="connsiteX3" fmla="*/ 650 w 179063"/>
                    <a:gd name="connsiteY3" fmla="*/ 6855 h 153723"/>
                    <a:gd name="connsiteX4" fmla="*/ 127716 w 179063"/>
                    <a:gd name="connsiteY4" fmla="*/ 29762 h 15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063" h="153723">
                      <a:moveTo>
                        <a:pt x="127716" y="29762"/>
                      </a:moveTo>
                      <a:cubicBezTo>
                        <a:pt x="188814" y="77916"/>
                        <a:pt x="178388" y="146938"/>
                        <a:pt x="178388" y="146938"/>
                      </a:cubicBezTo>
                      <a:cubicBezTo>
                        <a:pt x="178388" y="146938"/>
                        <a:pt x="112419" y="172185"/>
                        <a:pt x="52909" y="125281"/>
                      </a:cubicBezTo>
                      <a:cubicBezTo>
                        <a:pt x="-9776" y="75876"/>
                        <a:pt x="650" y="6855"/>
                        <a:pt x="650" y="6855"/>
                      </a:cubicBezTo>
                      <a:cubicBezTo>
                        <a:pt x="650" y="6855"/>
                        <a:pt x="65825" y="-19017"/>
                        <a:pt x="127716" y="29762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1" name="Vrije vorm: vorm 80">
                  <a:extLst>
                    <a:ext uri="{FF2B5EF4-FFF2-40B4-BE49-F238E27FC236}">
                      <a16:creationId xmlns:a16="http://schemas.microsoft.com/office/drawing/2014/main" id="{297F1ADF-52E1-673C-CFB3-5C2E155BD158}"/>
                    </a:ext>
                  </a:extLst>
                </p:cNvPr>
                <p:cNvSpPr/>
                <p:nvPr/>
              </p:nvSpPr>
              <p:spPr>
                <a:xfrm>
                  <a:off x="4854689" y="4395022"/>
                  <a:ext cx="131354" cy="153776"/>
                </a:xfrm>
                <a:custGeom>
                  <a:avLst/>
                  <a:gdLst>
                    <a:gd name="connsiteX0" fmla="*/ 38083 w 196240"/>
                    <a:gd name="connsiteY0" fmla="*/ 163957 h 229738"/>
                    <a:gd name="connsiteX1" fmla="*/ 187641 w 196240"/>
                    <a:gd name="connsiteY1" fmla="*/ 228856 h 229738"/>
                    <a:gd name="connsiteX2" fmla="*/ 159844 w 196240"/>
                    <a:gd name="connsiteY2" fmla="*/ 67785 h 229738"/>
                    <a:gd name="connsiteX3" fmla="*/ 8689 w 196240"/>
                    <a:gd name="connsiteY3" fmla="*/ 849 h 229738"/>
                    <a:gd name="connsiteX4" fmla="*/ 38083 w 196240"/>
                    <a:gd name="connsiteY4" fmla="*/ 163957 h 229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240" h="229738">
                      <a:moveTo>
                        <a:pt x="38083" y="163957"/>
                      </a:moveTo>
                      <a:cubicBezTo>
                        <a:pt x="99598" y="242334"/>
                        <a:pt x="187641" y="228856"/>
                        <a:pt x="187641" y="228856"/>
                      </a:cubicBezTo>
                      <a:cubicBezTo>
                        <a:pt x="187641" y="228856"/>
                        <a:pt x="219761" y="144127"/>
                        <a:pt x="159844" y="67785"/>
                      </a:cubicBezTo>
                      <a:cubicBezTo>
                        <a:pt x="96732" y="-12627"/>
                        <a:pt x="8689" y="849"/>
                        <a:pt x="8689" y="849"/>
                      </a:cubicBezTo>
                      <a:cubicBezTo>
                        <a:pt x="8689" y="849"/>
                        <a:pt x="-24231" y="84562"/>
                        <a:pt x="38083" y="163957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2" name="Vrije vorm: vorm 81">
                  <a:extLst>
                    <a:ext uri="{FF2B5EF4-FFF2-40B4-BE49-F238E27FC236}">
                      <a16:creationId xmlns:a16="http://schemas.microsoft.com/office/drawing/2014/main" id="{E9CDC2D7-27A9-2920-6A93-10539BF0B33E}"/>
                    </a:ext>
                  </a:extLst>
                </p:cNvPr>
                <p:cNvSpPr/>
                <p:nvPr/>
              </p:nvSpPr>
              <p:spPr>
                <a:xfrm>
                  <a:off x="4889012" y="4588101"/>
                  <a:ext cx="97087" cy="138227"/>
                </a:xfrm>
                <a:custGeom>
                  <a:avLst/>
                  <a:gdLst>
                    <a:gd name="connsiteX0" fmla="*/ 135623 w 145046"/>
                    <a:gd name="connsiteY0" fmla="*/ 206509 h 206509"/>
                    <a:gd name="connsiteX1" fmla="*/ 126201 w 145046"/>
                    <a:gd name="connsiteY1" fmla="*/ 197088 h 206509"/>
                    <a:gd name="connsiteX2" fmla="*/ 66077 w 145046"/>
                    <a:gd name="connsiteY2" fmla="*/ 58184 h 206509"/>
                    <a:gd name="connsiteX3" fmla="*/ 6006 w 145046"/>
                    <a:gd name="connsiteY3" fmla="*/ 18203 h 206509"/>
                    <a:gd name="connsiteX4" fmla="*/ 645 w 145046"/>
                    <a:gd name="connsiteY4" fmla="*/ 6005 h 206509"/>
                    <a:gd name="connsiteX5" fmla="*/ 12843 w 145046"/>
                    <a:gd name="connsiteY5" fmla="*/ 645 h 206509"/>
                    <a:gd name="connsiteX6" fmla="*/ 78971 w 145046"/>
                    <a:gd name="connsiteY6" fmla="*/ 44444 h 206509"/>
                    <a:gd name="connsiteX7" fmla="*/ 145046 w 145046"/>
                    <a:gd name="connsiteY7" fmla="*/ 197089 h 206509"/>
                    <a:gd name="connsiteX8" fmla="*/ 135623 w 145046"/>
                    <a:gd name="connsiteY8" fmla="*/ 206509 h 20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5046" h="206509">
                      <a:moveTo>
                        <a:pt x="135623" y="206509"/>
                      </a:moveTo>
                      <a:cubicBezTo>
                        <a:pt x="130419" y="206509"/>
                        <a:pt x="126201" y="202291"/>
                        <a:pt x="126201" y="197088"/>
                      </a:cubicBezTo>
                      <a:cubicBezTo>
                        <a:pt x="126201" y="142350"/>
                        <a:pt x="105972" y="95616"/>
                        <a:pt x="66077" y="58184"/>
                      </a:cubicBezTo>
                      <a:cubicBezTo>
                        <a:pt x="36203" y="30154"/>
                        <a:pt x="6303" y="18319"/>
                        <a:pt x="6006" y="18203"/>
                      </a:cubicBezTo>
                      <a:cubicBezTo>
                        <a:pt x="1157" y="16315"/>
                        <a:pt x="-1244" y="10853"/>
                        <a:pt x="645" y="6005"/>
                      </a:cubicBezTo>
                      <a:cubicBezTo>
                        <a:pt x="2532" y="1158"/>
                        <a:pt x="7994" y="-1244"/>
                        <a:pt x="12843" y="645"/>
                      </a:cubicBezTo>
                      <a:cubicBezTo>
                        <a:pt x="14201" y="1174"/>
                        <a:pt x="46466" y="13945"/>
                        <a:pt x="78971" y="44444"/>
                      </a:cubicBezTo>
                      <a:cubicBezTo>
                        <a:pt x="109114" y="72725"/>
                        <a:pt x="145046" y="122166"/>
                        <a:pt x="145046" y="197089"/>
                      </a:cubicBezTo>
                      <a:cubicBezTo>
                        <a:pt x="145045" y="202291"/>
                        <a:pt x="140826" y="206509"/>
                        <a:pt x="135623" y="206509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3" name="Vrije vorm: vorm 82">
                  <a:extLst>
                    <a:ext uri="{FF2B5EF4-FFF2-40B4-BE49-F238E27FC236}">
                      <a16:creationId xmlns:a16="http://schemas.microsoft.com/office/drawing/2014/main" id="{999B1183-9DD0-022C-6E6D-9EEC5CF14B7B}"/>
                    </a:ext>
                  </a:extLst>
                </p:cNvPr>
                <p:cNvSpPr/>
                <p:nvPr/>
              </p:nvSpPr>
              <p:spPr>
                <a:xfrm>
                  <a:off x="5017552" y="4556899"/>
                  <a:ext cx="102880" cy="82247"/>
                </a:xfrm>
                <a:custGeom>
                  <a:avLst/>
                  <a:gdLst>
                    <a:gd name="connsiteX0" fmla="*/ 104500 w 153701"/>
                    <a:gd name="connsiteY0" fmla="*/ 103083 h 122876"/>
                    <a:gd name="connsiteX1" fmla="*/ 57 w 153701"/>
                    <a:gd name="connsiteY1" fmla="*/ 114432 h 122876"/>
                    <a:gd name="connsiteX2" fmla="*/ 47803 w 153701"/>
                    <a:gd name="connsiteY2" fmla="*/ 20559 h 122876"/>
                    <a:gd name="connsiteX3" fmla="*/ 153616 w 153701"/>
                    <a:gd name="connsiteY3" fmla="*/ 8263 h 122876"/>
                    <a:gd name="connsiteX4" fmla="*/ 104500 w 153701"/>
                    <a:gd name="connsiteY4" fmla="*/ 103083 h 122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3701" h="122876">
                      <a:moveTo>
                        <a:pt x="104500" y="103083"/>
                      </a:moveTo>
                      <a:cubicBezTo>
                        <a:pt x="51715" y="139579"/>
                        <a:pt x="57" y="114432"/>
                        <a:pt x="57" y="114432"/>
                      </a:cubicBezTo>
                      <a:cubicBezTo>
                        <a:pt x="57" y="114432"/>
                        <a:pt x="-3612" y="56107"/>
                        <a:pt x="47803" y="20559"/>
                      </a:cubicBezTo>
                      <a:cubicBezTo>
                        <a:pt x="101960" y="-16884"/>
                        <a:pt x="153616" y="8263"/>
                        <a:pt x="153616" y="8263"/>
                      </a:cubicBezTo>
                      <a:cubicBezTo>
                        <a:pt x="153616" y="8263"/>
                        <a:pt x="157971" y="66115"/>
                        <a:pt x="104500" y="103083"/>
                      </a:cubicBezTo>
                      <a:close/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4" name="Vrije vorm: vorm 83">
                  <a:extLst>
                    <a:ext uri="{FF2B5EF4-FFF2-40B4-BE49-F238E27FC236}">
                      <a16:creationId xmlns:a16="http://schemas.microsoft.com/office/drawing/2014/main" id="{B15ADD4C-8304-B14C-8C1A-2BF4B20E6C1B}"/>
                    </a:ext>
                  </a:extLst>
                </p:cNvPr>
                <p:cNvSpPr/>
                <p:nvPr/>
              </p:nvSpPr>
              <p:spPr>
                <a:xfrm>
                  <a:off x="5031854" y="4556902"/>
                  <a:ext cx="88578" cy="82243"/>
                </a:xfrm>
                <a:custGeom>
                  <a:avLst/>
                  <a:gdLst>
                    <a:gd name="connsiteX0" fmla="*/ 132249 w 132334"/>
                    <a:gd name="connsiteY0" fmla="*/ 8259 h 122870"/>
                    <a:gd name="connsiteX1" fmla="*/ 69971 w 132334"/>
                    <a:gd name="connsiteY1" fmla="*/ 1958 h 122870"/>
                    <a:gd name="connsiteX2" fmla="*/ 90794 w 132334"/>
                    <a:gd name="connsiteY2" fmla="*/ 8259 h 122870"/>
                    <a:gd name="connsiteX3" fmla="*/ 41677 w 132334"/>
                    <a:gd name="connsiteY3" fmla="*/ 103079 h 122870"/>
                    <a:gd name="connsiteX4" fmla="*/ 0 w 132334"/>
                    <a:gd name="connsiteY4" fmla="*/ 120894 h 122870"/>
                    <a:gd name="connsiteX5" fmla="*/ 83132 w 132334"/>
                    <a:gd name="connsiteY5" fmla="*/ 103079 h 122870"/>
                    <a:gd name="connsiteX6" fmla="*/ 132249 w 132334"/>
                    <a:gd name="connsiteY6" fmla="*/ 8259 h 1228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2334" h="122870">
                      <a:moveTo>
                        <a:pt x="132249" y="8259"/>
                      </a:moveTo>
                      <a:cubicBezTo>
                        <a:pt x="132249" y="8259"/>
                        <a:pt x="105323" y="-4843"/>
                        <a:pt x="69971" y="1958"/>
                      </a:cubicBezTo>
                      <a:cubicBezTo>
                        <a:pt x="82867" y="4401"/>
                        <a:pt x="90794" y="8259"/>
                        <a:pt x="90794" y="8259"/>
                      </a:cubicBezTo>
                      <a:cubicBezTo>
                        <a:pt x="90794" y="8259"/>
                        <a:pt x="95148" y="66110"/>
                        <a:pt x="41677" y="103079"/>
                      </a:cubicBezTo>
                      <a:cubicBezTo>
                        <a:pt x="27364" y="112974"/>
                        <a:pt x="13139" y="118331"/>
                        <a:pt x="0" y="120894"/>
                      </a:cubicBezTo>
                      <a:cubicBezTo>
                        <a:pt x="19933" y="124677"/>
                        <a:pt x="51324" y="125071"/>
                        <a:pt x="83132" y="103079"/>
                      </a:cubicBezTo>
                      <a:cubicBezTo>
                        <a:pt x="136605" y="66111"/>
                        <a:pt x="132249" y="8259"/>
                        <a:pt x="132249" y="8259"/>
                      </a:cubicBez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6" name="Vrije vorm: vorm 85">
                  <a:extLst>
                    <a:ext uri="{FF2B5EF4-FFF2-40B4-BE49-F238E27FC236}">
                      <a16:creationId xmlns:a16="http://schemas.microsoft.com/office/drawing/2014/main" id="{E0945D2D-D888-6682-F69D-F7B758938033}"/>
                    </a:ext>
                  </a:extLst>
                </p:cNvPr>
                <p:cNvSpPr/>
                <p:nvPr/>
              </p:nvSpPr>
              <p:spPr>
                <a:xfrm>
                  <a:off x="4973460" y="4589021"/>
                  <a:ext cx="101927" cy="137308"/>
                </a:xfrm>
                <a:custGeom>
                  <a:avLst/>
                  <a:gdLst>
                    <a:gd name="connsiteX0" fmla="*/ 9454 w 152277"/>
                    <a:gd name="connsiteY0" fmla="*/ 205136 h 205135"/>
                    <a:gd name="connsiteX1" fmla="*/ 50 w 152277"/>
                    <a:gd name="connsiteY1" fmla="*/ 196156 h 205135"/>
                    <a:gd name="connsiteX2" fmla="*/ 15183 w 152277"/>
                    <a:gd name="connsiteY2" fmla="*/ 121399 h 205135"/>
                    <a:gd name="connsiteX3" fmla="*/ 139143 w 152277"/>
                    <a:gd name="connsiteY3" fmla="*/ 764 h 205135"/>
                    <a:gd name="connsiteX4" fmla="*/ 151513 w 152277"/>
                    <a:gd name="connsiteY4" fmla="*/ 5713 h 205135"/>
                    <a:gd name="connsiteX5" fmla="*/ 146563 w 152277"/>
                    <a:gd name="connsiteY5" fmla="*/ 18085 h 205135"/>
                    <a:gd name="connsiteX6" fmla="*/ 32636 w 152277"/>
                    <a:gd name="connsiteY6" fmla="*/ 128508 h 205135"/>
                    <a:gd name="connsiteX7" fmla="*/ 18875 w 152277"/>
                    <a:gd name="connsiteY7" fmla="*/ 195273 h 205135"/>
                    <a:gd name="connsiteX8" fmla="*/ 9905 w 152277"/>
                    <a:gd name="connsiteY8" fmla="*/ 205125 h 205135"/>
                    <a:gd name="connsiteX9" fmla="*/ 9454 w 152277"/>
                    <a:gd name="connsiteY9" fmla="*/ 205136 h 205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2277" h="205135">
                      <a:moveTo>
                        <a:pt x="9454" y="205136"/>
                      </a:moveTo>
                      <a:cubicBezTo>
                        <a:pt x="4454" y="205136"/>
                        <a:pt x="286" y="201204"/>
                        <a:pt x="50" y="196156"/>
                      </a:cubicBezTo>
                      <a:cubicBezTo>
                        <a:pt x="-14" y="194779"/>
                        <a:pt x="-1341" y="161967"/>
                        <a:pt x="15183" y="121399"/>
                      </a:cubicBezTo>
                      <a:cubicBezTo>
                        <a:pt x="30385" y="84079"/>
                        <a:pt x="64230" y="32858"/>
                        <a:pt x="139143" y="764"/>
                      </a:cubicBezTo>
                      <a:cubicBezTo>
                        <a:pt x="143927" y="-1285"/>
                        <a:pt x="149464" y="931"/>
                        <a:pt x="151513" y="5713"/>
                      </a:cubicBezTo>
                      <a:cubicBezTo>
                        <a:pt x="153563" y="10497"/>
                        <a:pt x="151346" y="16034"/>
                        <a:pt x="146563" y="18085"/>
                      </a:cubicBezTo>
                      <a:cubicBezTo>
                        <a:pt x="91141" y="41828"/>
                        <a:pt x="52810" y="78981"/>
                        <a:pt x="32636" y="128508"/>
                      </a:cubicBezTo>
                      <a:cubicBezTo>
                        <a:pt x="17661" y="165272"/>
                        <a:pt x="18860" y="194978"/>
                        <a:pt x="18875" y="195273"/>
                      </a:cubicBezTo>
                      <a:cubicBezTo>
                        <a:pt x="19118" y="200471"/>
                        <a:pt x="15103" y="204882"/>
                        <a:pt x="9905" y="205125"/>
                      </a:cubicBezTo>
                      <a:cubicBezTo>
                        <a:pt x="9753" y="205133"/>
                        <a:pt x="9602" y="205136"/>
                        <a:pt x="9454" y="205136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7" name="Vrije vorm: vorm 86">
                  <a:extLst>
                    <a:ext uri="{FF2B5EF4-FFF2-40B4-BE49-F238E27FC236}">
                      <a16:creationId xmlns:a16="http://schemas.microsoft.com/office/drawing/2014/main" id="{26616310-CB10-72DD-206A-03910033A478}"/>
                    </a:ext>
                  </a:extLst>
                </p:cNvPr>
                <p:cNvSpPr/>
                <p:nvPr/>
              </p:nvSpPr>
              <p:spPr>
                <a:xfrm>
                  <a:off x="4904915" y="4448532"/>
                  <a:ext cx="79041" cy="103378"/>
                </a:xfrm>
                <a:custGeom>
                  <a:avLst/>
                  <a:gdLst>
                    <a:gd name="connsiteX0" fmla="*/ 108670 w 118085"/>
                    <a:gd name="connsiteY0" fmla="*/ 154444 h 154444"/>
                    <a:gd name="connsiteX1" fmla="*/ 100265 w 118085"/>
                    <a:gd name="connsiteY1" fmla="*/ 149291 h 154444"/>
                    <a:gd name="connsiteX2" fmla="*/ 2733 w 118085"/>
                    <a:gd name="connsiteY2" fmla="*/ 16057 h 154444"/>
                    <a:gd name="connsiteX3" fmla="*/ 2786 w 118085"/>
                    <a:gd name="connsiteY3" fmla="*/ 2733 h 154444"/>
                    <a:gd name="connsiteX4" fmla="*/ 16109 w 118085"/>
                    <a:gd name="connsiteY4" fmla="*/ 2786 h 154444"/>
                    <a:gd name="connsiteX5" fmla="*/ 117061 w 118085"/>
                    <a:gd name="connsiteY5" fmla="*/ 140749 h 154444"/>
                    <a:gd name="connsiteX6" fmla="*/ 112934 w 118085"/>
                    <a:gd name="connsiteY6" fmla="*/ 153418 h 154444"/>
                    <a:gd name="connsiteX7" fmla="*/ 108670 w 118085"/>
                    <a:gd name="connsiteY7" fmla="*/ 154444 h 154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085" h="154444">
                      <a:moveTo>
                        <a:pt x="108670" y="154444"/>
                      </a:moveTo>
                      <a:cubicBezTo>
                        <a:pt x="105238" y="154444"/>
                        <a:pt x="101928" y="152561"/>
                        <a:pt x="100265" y="149291"/>
                      </a:cubicBezTo>
                      <a:cubicBezTo>
                        <a:pt x="64234" y="78446"/>
                        <a:pt x="3345" y="16674"/>
                        <a:pt x="2733" y="16057"/>
                      </a:cubicBezTo>
                      <a:cubicBezTo>
                        <a:pt x="-932" y="12364"/>
                        <a:pt x="-908" y="6398"/>
                        <a:pt x="2786" y="2733"/>
                      </a:cubicBezTo>
                      <a:cubicBezTo>
                        <a:pt x="6480" y="-932"/>
                        <a:pt x="12443" y="-907"/>
                        <a:pt x="16109" y="2786"/>
                      </a:cubicBezTo>
                      <a:cubicBezTo>
                        <a:pt x="18688" y="5385"/>
                        <a:pt x="79703" y="67297"/>
                        <a:pt x="117061" y="140749"/>
                      </a:cubicBezTo>
                      <a:cubicBezTo>
                        <a:pt x="119419" y="145387"/>
                        <a:pt x="117571" y="151059"/>
                        <a:pt x="112934" y="153418"/>
                      </a:cubicBezTo>
                      <a:cubicBezTo>
                        <a:pt x="111566" y="154114"/>
                        <a:pt x="110106" y="154444"/>
                        <a:pt x="108670" y="154444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88" name="Vrije vorm: vorm 87">
                  <a:extLst>
                    <a:ext uri="{FF2B5EF4-FFF2-40B4-BE49-F238E27FC236}">
                      <a16:creationId xmlns:a16="http://schemas.microsoft.com/office/drawing/2014/main" id="{F9F24B63-9703-9FCF-57D7-75C9B2015798}"/>
                    </a:ext>
                  </a:extLst>
                </p:cNvPr>
                <p:cNvSpPr/>
                <p:nvPr/>
              </p:nvSpPr>
              <p:spPr>
                <a:xfrm>
                  <a:off x="4975473" y="4503362"/>
                  <a:ext cx="104043" cy="103337"/>
                </a:xfrm>
                <a:custGeom>
                  <a:avLst/>
                  <a:gdLst>
                    <a:gd name="connsiteX0" fmla="*/ 9414 w 155438"/>
                    <a:gd name="connsiteY0" fmla="*/ 154383 h 154383"/>
                    <a:gd name="connsiteX1" fmla="*/ 4150 w 155438"/>
                    <a:gd name="connsiteY1" fmla="*/ 152768 h 154383"/>
                    <a:gd name="connsiteX2" fmla="*/ 1614 w 155438"/>
                    <a:gd name="connsiteY2" fmla="*/ 139686 h 154383"/>
                    <a:gd name="connsiteX3" fmla="*/ 141277 w 155438"/>
                    <a:gd name="connsiteY3" fmla="*/ 1280 h 154383"/>
                    <a:gd name="connsiteX4" fmla="*/ 154159 w 155438"/>
                    <a:gd name="connsiteY4" fmla="*/ 4685 h 154383"/>
                    <a:gd name="connsiteX5" fmla="*/ 150753 w 155438"/>
                    <a:gd name="connsiteY5" fmla="*/ 17566 h 154383"/>
                    <a:gd name="connsiteX6" fmla="*/ 17231 w 155438"/>
                    <a:gd name="connsiteY6" fmla="*/ 150230 h 154383"/>
                    <a:gd name="connsiteX7" fmla="*/ 9414 w 155438"/>
                    <a:gd name="connsiteY7" fmla="*/ 154383 h 154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5438" h="154383">
                      <a:moveTo>
                        <a:pt x="9414" y="154383"/>
                      </a:moveTo>
                      <a:cubicBezTo>
                        <a:pt x="7600" y="154383"/>
                        <a:pt x="5767" y="153859"/>
                        <a:pt x="4150" y="152768"/>
                      </a:cubicBezTo>
                      <a:cubicBezTo>
                        <a:pt x="-163" y="149856"/>
                        <a:pt x="-1297" y="143999"/>
                        <a:pt x="1614" y="139686"/>
                      </a:cubicBezTo>
                      <a:cubicBezTo>
                        <a:pt x="4209" y="135842"/>
                        <a:pt x="66043" y="45054"/>
                        <a:pt x="141277" y="1280"/>
                      </a:cubicBezTo>
                      <a:cubicBezTo>
                        <a:pt x="145775" y="-1338"/>
                        <a:pt x="151541" y="187"/>
                        <a:pt x="154159" y="4685"/>
                      </a:cubicBezTo>
                      <a:cubicBezTo>
                        <a:pt x="156775" y="9183"/>
                        <a:pt x="155250" y="14949"/>
                        <a:pt x="150753" y="17566"/>
                      </a:cubicBezTo>
                      <a:cubicBezTo>
                        <a:pt x="79210" y="59194"/>
                        <a:pt x="17842" y="149326"/>
                        <a:pt x="17231" y="150230"/>
                      </a:cubicBezTo>
                      <a:cubicBezTo>
                        <a:pt x="15411" y="152928"/>
                        <a:pt x="12439" y="154383"/>
                        <a:pt x="9414" y="154383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124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0" name="Vrije vorm: vorm 89">
                  <a:extLst>
                    <a:ext uri="{FF2B5EF4-FFF2-40B4-BE49-F238E27FC236}">
                      <a16:creationId xmlns:a16="http://schemas.microsoft.com/office/drawing/2014/main" id="{0A0B4A9C-22E4-6896-DF0F-A4BE2979EFF8}"/>
                    </a:ext>
                  </a:extLst>
                </p:cNvPr>
                <p:cNvSpPr/>
                <p:nvPr/>
              </p:nvSpPr>
              <p:spPr>
                <a:xfrm flipV="1">
                  <a:off x="11080367" y="2241373"/>
                  <a:ext cx="168304" cy="168303"/>
                </a:xfrm>
                <a:custGeom>
                  <a:avLst/>
                  <a:gdLst>
                    <a:gd name="connsiteX0" fmla="*/ 113168 w 112597"/>
                    <a:gd name="connsiteY0" fmla="*/ 56804 h 112596"/>
                    <a:gd name="connsiteX1" fmla="*/ 56870 w 112597"/>
                    <a:gd name="connsiteY1" fmla="*/ 113102 h 112596"/>
                    <a:gd name="connsiteX2" fmla="*/ 570 w 112597"/>
                    <a:gd name="connsiteY2" fmla="*/ 56804 h 112596"/>
                    <a:gd name="connsiteX3" fmla="*/ 56870 w 112597"/>
                    <a:gd name="connsiteY3" fmla="*/ 506 h 112596"/>
                    <a:gd name="connsiteX4" fmla="*/ 113168 w 112597"/>
                    <a:gd name="connsiteY4" fmla="*/ 56804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3168" y="56804"/>
                      </a:moveTo>
                      <a:cubicBezTo>
                        <a:pt x="113168" y="87898"/>
                        <a:pt x="87962" y="113102"/>
                        <a:pt x="56870" y="113102"/>
                      </a:cubicBezTo>
                      <a:cubicBezTo>
                        <a:pt x="25776" y="113102"/>
                        <a:pt x="570" y="87898"/>
                        <a:pt x="570" y="56804"/>
                      </a:cubicBezTo>
                      <a:cubicBezTo>
                        <a:pt x="570" y="25711"/>
                        <a:pt x="25776" y="506"/>
                        <a:pt x="56870" y="506"/>
                      </a:cubicBezTo>
                      <a:cubicBezTo>
                        <a:pt x="87962" y="506"/>
                        <a:pt x="113168" y="25711"/>
                        <a:pt x="113168" y="56804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1" name="Vrije vorm: vorm 90">
                  <a:extLst>
                    <a:ext uri="{FF2B5EF4-FFF2-40B4-BE49-F238E27FC236}">
                      <a16:creationId xmlns:a16="http://schemas.microsoft.com/office/drawing/2014/main" id="{7E538EE9-2592-8B08-2A47-66ADD9A460C0}"/>
                    </a:ext>
                  </a:extLst>
                </p:cNvPr>
                <p:cNvSpPr/>
                <p:nvPr/>
              </p:nvSpPr>
              <p:spPr>
                <a:xfrm flipV="1">
                  <a:off x="11080369" y="2241378"/>
                  <a:ext cx="119623" cy="168293"/>
                </a:xfrm>
                <a:custGeom>
                  <a:avLst/>
                  <a:gdLst>
                    <a:gd name="connsiteX0" fmla="*/ 80576 w 80029"/>
                    <a:gd name="connsiteY0" fmla="*/ 5700 h 112589"/>
                    <a:gd name="connsiteX1" fmla="*/ 56859 w 80029"/>
                    <a:gd name="connsiteY1" fmla="*/ 475 h 112589"/>
                    <a:gd name="connsiteX2" fmla="*/ 547 w 80029"/>
                    <a:gd name="connsiteY2" fmla="*/ 56769 h 112589"/>
                    <a:gd name="connsiteX3" fmla="*/ 56859 w 80029"/>
                    <a:gd name="connsiteY3" fmla="*/ 113064 h 112589"/>
                    <a:gd name="connsiteX4" fmla="*/ 80576 w 80029"/>
                    <a:gd name="connsiteY4" fmla="*/ 107839 h 112589"/>
                    <a:gd name="connsiteX5" fmla="*/ 47982 w 80029"/>
                    <a:gd name="connsiteY5" fmla="*/ 56769 h 112589"/>
                    <a:gd name="connsiteX6" fmla="*/ 80576 w 80029"/>
                    <a:gd name="connsiteY6" fmla="*/ 5700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576" y="5700"/>
                      </a:moveTo>
                      <a:cubicBezTo>
                        <a:pt x="73373" y="2351"/>
                        <a:pt x="65333" y="475"/>
                        <a:pt x="56859" y="475"/>
                      </a:cubicBezTo>
                      <a:cubicBezTo>
                        <a:pt x="25754" y="475"/>
                        <a:pt x="547" y="25682"/>
                        <a:pt x="547" y="56769"/>
                      </a:cubicBezTo>
                      <a:cubicBezTo>
                        <a:pt x="547" y="87873"/>
                        <a:pt x="25754" y="113064"/>
                        <a:pt x="56859" y="113064"/>
                      </a:cubicBezTo>
                      <a:cubicBezTo>
                        <a:pt x="65333" y="113064"/>
                        <a:pt x="73373" y="111190"/>
                        <a:pt x="80576" y="107839"/>
                      </a:cubicBezTo>
                      <a:cubicBezTo>
                        <a:pt x="61331" y="98895"/>
                        <a:pt x="47982" y="79399"/>
                        <a:pt x="47982" y="56769"/>
                      </a:cubicBezTo>
                      <a:cubicBezTo>
                        <a:pt x="47982" y="34158"/>
                        <a:pt x="61331" y="14644"/>
                        <a:pt x="80576" y="5700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2" name="Vrije vorm: vorm 91">
                  <a:extLst>
                    <a:ext uri="{FF2B5EF4-FFF2-40B4-BE49-F238E27FC236}">
                      <a16:creationId xmlns:a16="http://schemas.microsoft.com/office/drawing/2014/main" id="{7DE7D991-E906-BF91-E8CC-DBB3E1A59CF1}"/>
                    </a:ext>
                  </a:extLst>
                </p:cNvPr>
                <p:cNvSpPr/>
                <p:nvPr/>
              </p:nvSpPr>
              <p:spPr>
                <a:xfrm flipV="1">
                  <a:off x="10647505" y="1776969"/>
                  <a:ext cx="391713" cy="870694"/>
                </a:xfrm>
                <a:custGeom>
                  <a:avLst/>
                  <a:gdLst>
                    <a:gd name="connsiteX0" fmla="*/ 185523 w 262059"/>
                    <a:gd name="connsiteY0" fmla="*/ 265 h 582501"/>
                    <a:gd name="connsiteX1" fmla="*/ 7044 w 262059"/>
                    <a:gd name="connsiteY1" fmla="*/ 265 h 582501"/>
                    <a:gd name="connsiteX2" fmla="*/ 604 w 262059"/>
                    <a:gd name="connsiteY2" fmla="*/ 8497 h 582501"/>
                    <a:gd name="connsiteX3" fmla="*/ 6054 w 262059"/>
                    <a:gd name="connsiteY3" fmla="*/ 19845 h 582501"/>
                    <a:gd name="connsiteX4" fmla="*/ 22971 w 262059"/>
                    <a:gd name="connsiteY4" fmla="*/ 31654 h 582501"/>
                    <a:gd name="connsiteX5" fmla="*/ 25617 w 262059"/>
                    <a:gd name="connsiteY5" fmla="*/ 32425 h 582501"/>
                    <a:gd name="connsiteX6" fmla="*/ 48982 w 262059"/>
                    <a:gd name="connsiteY6" fmla="*/ 61803 h 582501"/>
                    <a:gd name="connsiteX7" fmla="*/ 80708 w 262059"/>
                    <a:gd name="connsiteY7" fmla="*/ 576547 h 582501"/>
                    <a:gd name="connsiteX8" fmla="*/ 87322 w 262059"/>
                    <a:gd name="connsiteY8" fmla="*/ 582766 h 582501"/>
                    <a:gd name="connsiteX9" fmla="*/ 105245 w 262059"/>
                    <a:gd name="connsiteY9" fmla="*/ 582766 h 582501"/>
                    <a:gd name="connsiteX10" fmla="*/ 111859 w 262059"/>
                    <a:gd name="connsiteY10" fmla="*/ 576547 h 582501"/>
                    <a:gd name="connsiteX11" fmla="*/ 137649 w 262059"/>
                    <a:gd name="connsiteY11" fmla="*/ 157999 h 582501"/>
                    <a:gd name="connsiteX12" fmla="*/ 149716 w 262059"/>
                    <a:gd name="connsiteY12" fmla="*/ 154641 h 582501"/>
                    <a:gd name="connsiteX13" fmla="*/ 236487 w 262059"/>
                    <a:gd name="connsiteY13" fmla="*/ 280341 h 582501"/>
                    <a:gd name="connsiteX14" fmla="*/ 245497 w 262059"/>
                    <a:gd name="connsiteY14" fmla="*/ 282167 h 582501"/>
                    <a:gd name="connsiteX15" fmla="*/ 259382 w 262059"/>
                    <a:gd name="connsiteY15" fmla="*/ 273328 h 582501"/>
                    <a:gd name="connsiteX16" fmla="*/ 261543 w 262059"/>
                    <a:gd name="connsiteY16" fmla="*/ 264391 h 582501"/>
                    <a:gd name="connsiteX17" fmla="*/ 143518 w 262059"/>
                    <a:gd name="connsiteY17" fmla="*/ 62774 h 582501"/>
                    <a:gd name="connsiteX18" fmla="*/ 143585 w 262059"/>
                    <a:gd name="connsiteY18" fmla="*/ 61803 h 582501"/>
                    <a:gd name="connsiteX19" fmla="*/ 166951 w 262059"/>
                    <a:gd name="connsiteY19" fmla="*/ 32425 h 582501"/>
                    <a:gd name="connsiteX20" fmla="*/ 169597 w 262059"/>
                    <a:gd name="connsiteY20" fmla="*/ 31654 h 582501"/>
                    <a:gd name="connsiteX21" fmla="*/ 191963 w 262059"/>
                    <a:gd name="connsiteY21" fmla="*/ 8498 h 582501"/>
                    <a:gd name="connsiteX22" fmla="*/ 185523 w 262059"/>
                    <a:gd name="connsiteY22" fmla="*/ 265 h 582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2059" h="582501">
                      <a:moveTo>
                        <a:pt x="185523" y="265"/>
                      </a:moveTo>
                      <a:lnTo>
                        <a:pt x="7044" y="265"/>
                      </a:lnTo>
                      <a:cubicBezTo>
                        <a:pt x="2735" y="265"/>
                        <a:pt x="-479" y="4326"/>
                        <a:pt x="604" y="8497"/>
                      </a:cubicBezTo>
                      <a:cubicBezTo>
                        <a:pt x="1677" y="12628"/>
                        <a:pt x="3542" y="16476"/>
                        <a:pt x="6054" y="19845"/>
                      </a:cubicBezTo>
                      <a:cubicBezTo>
                        <a:pt x="10174" y="25355"/>
                        <a:pt x="16019" y="29576"/>
                        <a:pt x="22971" y="31654"/>
                      </a:cubicBezTo>
                      <a:lnTo>
                        <a:pt x="25617" y="32425"/>
                      </a:lnTo>
                      <a:cubicBezTo>
                        <a:pt x="38799" y="36343"/>
                        <a:pt x="48129" y="48068"/>
                        <a:pt x="48982" y="61803"/>
                      </a:cubicBezTo>
                      <a:lnTo>
                        <a:pt x="80708" y="576547"/>
                      </a:lnTo>
                      <a:cubicBezTo>
                        <a:pt x="80925" y="580043"/>
                        <a:pt x="83820" y="582766"/>
                        <a:pt x="87322" y="582766"/>
                      </a:cubicBezTo>
                      <a:lnTo>
                        <a:pt x="105245" y="582766"/>
                      </a:lnTo>
                      <a:cubicBezTo>
                        <a:pt x="108747" y="582766"/>
                        <a:pt x="111644" y="580043"/>
                        <a:pt x="111859" y="576547"/>
                      </a:cubicBezTo>
                      <a:lnTo>
                        <a:pt x="137649" y="157999"/>
                      </a:lnTo>
                      <a:cubicBezTo>
                        <a:pt x="138036" y="151717"/>
                        <a:pt x="146141" y="149463"/>
                        <a:pt x="149716" y="154641"/>
                      </a:cubicBezTo>
                      <a:lnTo>
                        <a:pt x="236487" y="280341"/>
                      </a:lnTo>
                      <a:cubicBezTo>
                        <a:pt x="238511" y="283274"/>
                        <a:pt x="242493" y="284080"/>
                        <a:pt x="245497" y="282167"/>
                      </a:cubicBezTo>
                      <a:lnTo>
                        <a:pt x="259382" y="273328"/>
                      </a:lnTo>
                      <a:cubicBezTo>
                        <a:pt x="262389" y="271415"/>
                        <a:pt x="263343" y="267465"/>
                        <a:pt x="261543" y="264391"/>
                      </a:cubicBezTo>
                      <a:lnTo>
                        <a:pt x="143518" y="62774"/>
                      </a:lnTo>
                      <a:lnTo>
                        <a:pt x="143585" y="61803"/>
                      </a:lnTo>
                      <a:cubicBezTo>
                        <a:pt x="144438" y="48068"/>
                        <a:pt x="153768" y="36343"/>
                        <a:pt x="166951" y="32425"/>
                      </a:cubicBezTo>
                      <a:lnTo>
                        <a:pt x="169597" y="31654"/>
                      </a:lnTo>
                      <a:cubicBezTo>
                        <a:pt x="180772" y="28324"/>
                        <a:pt x="189128" y="19406"/>
                        <a:pt x="191963" y="8498"/>
                      </a:cubicBezTo>
                      <a:cubicBezTo>
                        <a:pt x="193046" y="4328"/>
                        <a:pt x="189833" y="265"/>
                        <a:pt x="185523" y="265"/>
                      </a:cubicBezTo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3" name="Vrije vorm: vorm 92">
                  <a:extLst>
                    <a:ext uri="{FF2B5EF4-FFF2-40B4-BE49-F238E27FC236}">
                      <a16:creationId xmlns:a16="http://schemas.microsoft.com/office/drawing/2014/main" id="{1129019B-4E08-8794-D0A6-2548D2A9AE0B}"/>
                    </a:ext>
                  </a:extLst>
                </p:cNvPr>
                <p:cNvSpPr/>
                <p:nvPr/>
              </p:nvSpPr>
              <p:spPr>
                <a:xfrm flipV="1">
                  <a:off x="10647507" y="1776969"/>
                  <a:ext cx="153370" cy="870694"/>
                </a:xfrm>
                <a:custGeom>
                  <a:avLst/>
                  <a:gdLst>
                    <a:gd name="connsiteX0" fmla="*/ 96301 w 102606"/>
                    <a:gd name="connsiteY0" fmla="*/ 583125 h 582501"/>
                    <a:gd name="connsiteX1" fmla="*/ 102923 w 102606"/>
                    <a:gd name="connsiteY1" fmla="*/ 576267 h 582501"/>
                    <a:gd name="connsiteX2" fmla="*/ 84990 w 102606"/>
                    <a:gd name="connsiteY2" fmla="*/ 62161 h 582501"/>
                    <a:gd name="connsiteX3" fmla="*/ 71740 w 102606"/>
                    <a:gd name="connsiteY3" fmla="*/ 32783 h 582501"/>
                    <a:gd name="connsiteX4" fmla="*/ 70249 w 102606"/>
                    <a:gd name="connsiteY4" fmla="*/ 32012 h 582501"/>
                    <a:gd name="connsiteX5" fmla="*/ 60670 w 102606"/>
                    <a:gd name="connsiteY5" fmla="*/ 20204 h 582501"/>
                    <a:gd name="connsiteX6" fmla="*/ 57301 w 102606"/>
                    <a:gd name="connsiteY6" fmla="*/ 6634 h 582501"/>
                    <a:gd name="connsiteX7" fmla="*/ 50708 w 102606"/>
                    <a:gd name="connsiteY7" fmla="*/ 623 h 582501"/>
                    <a:gd name="connsiteX8" fmla="*/ 6973 w 102606"/>
                    <a:gd name="connsiteY8" fmla="*/ 623 h 582501"/>
                    <a:gd name="connsiteX9" fmla="*/ 533 w 102606"/>
                    <a:gd name="connsiteY9" fmla="*/ 8855 h 582501"/>
                    <a:gd name="connsiteX10" fmla="*/ 5981 w 102606"/>
                    <a:gd name="connsiteY10" fmla="*/ 20204 h 582501"/>
                    <a:gd name="connsiteX11" fmla="*/ 22899 w 102606"/>
                    <a:gd name="connsiteY11" fmla="*/ 32012 h 582501"/>
                    <a:gd name="connsiteX12" fmla="*/ 25546 w 102606"/>
                    <a:gd name="connsiteY12" fmla="*/ 32783 h 582501"/>
                    <a:gd name="connsiteX13" fmla="*/ 48911 w 102606"/>
                    <a:gd name="connsiteY13" fmla="*/ 62161 h 582501"/>
                    <a:gd name="connsiteX14" fmla="*/ 80637 w 102606"/>
                    <a:gd name="connsiteY14" fmla="*/ 576906 h 582501"/>
                    <a:gd name="connsiteX15" fmla="*/ 87251 w 102606"/>
                    <a:gd name="connsiteY15" fmla="*/ 583125 h 582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2606" h="582501">
                      <a:moveTo>
                        <a:pt x="96301" y="583125"/>
                      </a:moveTo>
                      <a:cubicBezTo>
                        <a:pt x="100052" y="583125"/>
                        <a:pt x="103055" y="580014"/>
                        <a:pt x="102923" y="576267"/>
                      </a:cubicBezTo>
                      <a:lnTo>
                        <a:pt x="84990" y="62161"/>
                      </a:lnTo>
                      <a:cubicBezTo>
                        <a:pt x="84504" y="48426"/>
                        <a:pt x="79211" y="36701"/>
                        <a:pt x="71740" y="32783"/>
                      </a:cubicBezTo>
                      <a:lnTo>
                        <a:pt x="70249" y="32012"/>
                      </a:lnTo>
                      <a:cubicBezTo>
                        <a:pt x="66313" y="29935"/>
                        <a:pt x="62998" y="25714"/>
                        <a:pt x="60670" y="20204"/>
                      </a:cubicBezTo>
                      <a:cubicBezTo>
                        <a:pt x="58998" y="16236"/>
                        <a:pt x="57828" y="11606"/>
                        <a:pt x="57301" y="6634"/>
                      </a:cubicBezTo>
                      <a:cubicBezTo>
                        <a:pt x="56940" y="3232"/>
                        <a:pt x="54129" y="623"/>
                        <a:pt x="50708" y="623"/>
                      </a:cubicBezTo>
                      <a:lnTo>
                        <a:pt x="6973" y="623"/>
                      </a:lnTo>
                      <a:cubicBezTo>
                        <a:pt x="2663" y="623"/>
                        <a:pt x="-550" y="4684"/>
                        <a:pt x="533" y="8855"/>
                      </a:cubicBezTo>
                      <a:cubicBezTo>
                        <a:pt x="1606" y="12985"/>
                        <a:pt x="3469" y="16835"/>
                        <a:pt x="5981" y="20204"/>
                      </a:cubicBezTo>
                      <a:cubicBezTo>
                        <a:pt x="10103" y="25714"/>
                        <a:pt x="15948" y="29935"/>
                        <a:pt x="22899" y="32012"/>
                      </a:cubicBezTo>
                      <a:lnTo>
                        <a:pt x="25546" y="32783"/>
                      </a:lnTo>
                      <a:cubicBezTo>
                        <a:pt x="38727" y="36701"/>
                        <a:pt x="48056" y="48426"/>
                        <a:pt x="48911" y="62161"/>
                      </a:cubicBezTo>
                      <a:lnTo>
                        <a:pt x="80637" y="576906"/>
                      </a:lnTo>
                      <a:cubicBezTo>
                        <a:pt x="80852" y="580401"/>
                        <a:pt x="83749" y="583125"/>
                        <a:pt x="87251" y="583125"/>
                      </a:cubicBezTo>
                      <a:close/>
                    </a:path>
                  </a:pathLst>
                </a:custGeom>
                <a:solidFill>
                  <a:srgbClr val="BE4E30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6" name="Vrije vorm: vorm 95">
                  <a:extLst>
                    <a:ext uri="{FF2B5EF4-FFF2-40B4-BE49-F238E27FC236}">
                      <a16:creationId xmlns:a16="http://schemas.microsoft.com/office/drawing/2014/main" id="{DFA07351-A92D-9753-24F7-C6D27BB7FB66}"/>
                    </a:ext>
                  </a:extLst>
                </p:cNvPr>
                <p:cNvSpPr/>
                <p:nvPr/>
              </p:nvSpPr>
              <p:spPr>
                <a:xfrm flipV="1">
                  <a:off x="10477947" y="2185519"/>
                  <a:ext cx="168304" cy="168303"/>
                </a:xfrm>
                <a:custGeom>
                  <a:avLst/>
                  <a:gdLst>
                    <a:gd name="connsiteX0" fmla="*/ 112837 w 112597"/>
                    <a:gd name="connsiteY0" fmla="*/ 56773 h 112596"/>
                    <a:gd name="connsiteX1" fmla="*/ 56539 w 112597"/>
                    <a:gd name="connsiteY1" fmla="*/ 113072 h 112596"/>
                    <a:gd name="connsiteX2" fmla="*/ 239 w 112597"/>
                    <a:gd name="connsiteY2" fmla="*/ 56773 h 112596"/>
                    <a:gd name="connsiteX3" fmla="*/ 56539 w 112597"/>
                    <a:gd name="connsiteY3" fmla="*/ 475 h 112596"/>
                    <a:gd name="connsiteX4" fmla="*/ 112837 w 112597"/>
                    <a:gd name="connsiteY4" fmla="*/ 56773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2837" y="56773"/>
                      </a:moveTo>
                      <a:cubicBezTo>
                        <a:pt x="112837" y="87867"/>
                        <a:pt x="87631" y="113072"/>
                        <a:pt x="56539" y="113072"/>
                      </a:cubicBezTo>
                      <a:cubicBezTo>
                        <a:pt x="25446" y="113072"/>
                        <a:pt x="239" y="87867"/>
                        <a:pt x="239" y="56773"/>
                      </a:cubicBezTo>
                      <a:cubicBezTo>
                        <a:pt x="239" y="25680"/>
                        <a:pt x="25446" y="475"/>
                        <a:pt x="56539" y="475"/>
                      </a:cubicBezTo>
                      <a:cubicBezTo>
                        <a:pt x="87631" y="475"/>
                        <a:pt x="112837" y="25680"/>
                        <a:pt x="112837" y="56773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7" name="Vrije vorm: vorm 96">
                  <a:extLst>
                    <a:ext uri="{FF2B5EF4-FFF2-40B4-BE49-F238E27FC236}">
                      <a16:creationId xmlns:a16="http://schemas.microsoft.com/office/drawing/2014/main" id="{12F89C2C-3F49-3667-0F34-911982F5EBB2}"/>
                    </a:ext>
                  </a:extLst>
                </p:cNvPr>
                <p:cNvSpPr/>
                <p:nvPr/>
              </p:nvSpPr>
              <p:spPr>
                <a:xfrm flipV="1">
                  <a:off x="10477948" y="2185523"/>
                  <a:ext cx="119623" cy="168293"/>
                </a:xfrm>
                <a:custGeom>
                  <a:avLst/>
                  <a:gdLst>
                    <a:gd name="connsiteX0" fmla="*/ 80246 w 80029"/>
                    <a:gd name="connsiteY0" fmla="*/ 5669 h 112589"/>
                    <a:gd name="connsiteX1" fmla="*/ 56529 w 80029"/>
                    <a:gd name="connsiteY1" fmla="*/ 444 h 112589"/>
                    <a:gd name="connsiteX2" fmla="*/ 216 w 80029"/>
                    <a:gd name="connsiteY2" fmla="*/ 56739 h 112589"/>
                    <a:gd name="connsiteX3" fmla="*/ 56529 w 80029"/>
                    <a:gd name="connsiteY3" fmla="*/ 113034 h 112589"/>
                    <a:gd name="connsiteX4" fmla="*/ 80246 w 80029"/>
                    <a:gd name="connsiteY4" fmla="*/ 107808 h 112589"/>
                    <a:gd name="connsiteX5" fmla="*/ 47651 w 80029"/>
                    <a:gd name="connsiteY5" fmla="*/ 56739 h 112589"/>
                    <a:gd name="connsiteX6" fmla="*/ 80246 w 80029"/>
                    <a:gd name="connsiteY6" fmla="*/ 5669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246" y="5669"/>
                      </a:moveTo>
                      <a:cubicBezTo>
                        <a:pt x="73043" y="2320"/>
                        <a:pt x="65003" y="444"/>
                        <a:pt x="56529" y="444"/>
                      </a:cubicBezTo>
                      <a:cubicBezTo>
                        <a:pt x="25424" y="444"/>
                        <a:pt x="216" y="25652"/>
                        <a:pt x="216" y="56739"/>
                      </a:cubicBezTo>
                      <a:cubicBezTo>
                        <a:pt x="216" y="87842"/>
                        <a:pt x="25424" y="113034"/>
                        <a:pt x="56529" y="113034"/>
                      </a:cubicBezTo>
                      <a:cubicBezTo>
                        <a:pt x="65003" y="113034"/>
                        <a:pt x="73043" y="111159"/>
                        <a:pt x="80246" y="107808"/>
                      </a:cubicBezTo>
                      <a:cubicBezTo>
                        <a:pt x="61000" y="98864"/>
                        <a:pt x="47651" y="79368"/>
                        <a:pt x="47651" y="56739"/>
                      </a:cubicBezTo>
                      <a:cubicBezTo>
                        <a:pt x="47651" y="34127"/>
                        <a:pt x="61000" y="14614"/>
                        <a:pt x="80246" y="5669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8" name="Vrije vorm: vorm 97">
                  <a:extLst>
                    <a:ext uri="{FF2B5EF4-FFF2-40B4-BE49-F238E27FC236}">
                      <a16:creationId xmlns:a16="http://schemas.microsoft.com/office/drawing/2014/main" id="{DF420936-CDC5-49BC-B428-4D0EA804E512}"/>
                    </a:ext>
                  </a:extLst>
                </p:cNvPr>
                <p:cNvSpPr/>
                <p:nvPr/>
              </p:nvSpPr>
              <p:spPr>
                <a:xfrm flipV="1">
                  <a:off x="10779442" y="1993159"/>
                  <a:ext cx="168304" cy="168303"/>
                </a:xfrm>
                <a:custGeom>
                  <a:avLst/>
                  <a:gdLst>
                    <a:gd name="connsiteX0" fmla="*/ 113003 w 112597"/>
                    <a:gd name="connsiteY0" fmla="*/ 56668 h 112596"/>
                    <a:gd name="connsiteX1" fmla="*/ 56705 w 112597"/>
                    <a:gd name="connsiteY1" fmla="*/ 112966 h 112596"/>
                    <a:gd name="connsiteX2" fmla="*/ 405 w 112597"/>
                    <a:gd name="connsiteY2" fmla="*/ 56668 h 112596"/>
                    <a:gd name="connsiteX3" fmla="*/ 56705 w 112597"/>
                    <a:gd name="connsiteY3" fmla="*/ 370 h 112596"/>
                    <a:gd name="connsiteX4" fmla="*/ 113003 w 112597"/>
                    <a:gd name="connsiteY4" fmla="*/ 56668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3003" y="56668"/>
                      </a:moveTo>
                      <a:cubicBezTo>
                        <a:pt x="113003" y="87761"/>
                        <a:pt x="87797" y="112966"/>
                        <a:pt x="56705" y="112966"/>
                      </a:cubicBezTo>
                      <a:cubicBezTo>
                        <a:pt x="25611" y="112966"/>
                        <a:pt x="405" y="87761"/>
                        <a:pt x="405" y="56668"/>
                      </a:cubicBezTo>
                      <a:cubicBezTo>
                        <a:pt x="405" y="25574"/>
                        <a:pt x="25611" y="370"/>
                        <a:pt x="56705" y="370"/>
                      </a:cubicBezTo>
                      <a:cubicBezTo>
                        <a:pt x="87797" y="370"/>
                        <a:pt x="113003" y="25574"/>
                        <a:pt x="113003" y="56668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99" name="Vrije vorm: vorm 98">
                  <a:extLst>
                    <a:ext uri="{FF2B5EF4-FFF2-40B4-BE49-F238E27FC236}">
                      <a16:creationId xmlns:a16="http://schemas.microsoft.com/office/drawing/2014/main" id="{43421BE2-37FA-472A-7D9E-964F93E2D39D}"/>
                    </a:ext>
                  </a:extLst>
                </p:cNvPr>
                <p:cNvSpPr/>
                <p:nvPr/>
              </p:nvSpPr>
              <p:spPr>
                <a:xfrm flipV="1">
                  <a:off x="10779442" y="1993164"/>
                  <a:ext cx="119623" cy="168293"/>
                </a:xfrm>
                <a:custGeom>
                  <a:avLst/>
                  <a:gdLst>
                    <a:gd name="connsiteX0" fmla="*/ 80411 w 80029"/>
                    <a:gd name="connsiteY0" fmla="*/ 5564 h 112589"/>
                    <a:gd name="connsiteX1" fmla="*/ 56694 w 80029"/>
                    <a:gd name="connsiteY1" fmla="*/ 338 h 112589"/>
                    <a:gd name="connsiteX2" fmla="*/ 381 w 80029"/>
                    <a:gd name="connsiteY2" fmla="*/ 56633 h 112589"/>
                    <a:gd name="connsiteX3" fmla="*/ 56694 w 80029"/>
                    <a:gd name="connsiteY3" fmla="*/ 112928 h 112589"/>
                    <a:gd name="connsiteX4" fmla="*/ 80411 w 80029"/>
                    <a:gd name="connsiteY4" fmla="*/ 107702 h 112589"/>
                    <a:gd name="connsiteX5" fmla="*/ 47817 w 80029"/>
                    <a:gd name="connsiteY5" fmla="*/ 56633 h 112589"/>
                    <a:gd name="connsiteX6" fmla="*/ 80411 w 80029"/>
                    <a:gd name="connsiteY6" fmla="*/ 5564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411" y="5564"/>
                      </a:moveTo>
                      <a:cubicBezTo>
                        <a:pt x="73208" y="2215"/>
                        <a:pt x="65168" y="338"/>
                        <a:pt x="56694" y="338"/>
                      </a:cubicBezTo>
                      <a:cubicBezTo>
                        <a:pt x="25589" y="338"/>
                        <a:pt x="381" y="25546"/>
                        <a:pt x="381" y="56633"/>
                      </a:cubicBezTo>
                      <a:cubicBezTo>
                        <a:pt x="381" y="87737"/>
                        <a:pt x="25589" y="112928"/>
                        <a:pt x="56694" y="112928"/>
                      </a:cubicBezTo>
                      <a:cubicBezTo>
                        <a:pt x="65168" y="112928"/>
                        <a:pt x="73208" y="111053"/>
                        <a:pt x="80411" y="107702"/>
                      </a:cubicBezTo>
                      <a:cubicBezTo>
                        <a:pt x="61165" y="98758"/>
                        <a:pt x="47817" y="79262"/>
                        <a:pt x="47817" y="56633"/>
                      </a:cubicBezTo>
                      <a:cubicBezTo>
                        <a:pt x="47817" y="34022"/>
                        <a:pt x="61165" y="14508"/>
                        <a:pt x="80411" y="5564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0" name="Vrije vorm: vorm 99">
                  <a:extLst>
                    <a:ext uri="{FF2B5EF4-FFF2-40B4-BE49-F238E27FC236}">
                      <a16:creationId xmlns:a16="http://schemas.microsoft.com/office/drawing/2014/main" id="{A5FA21AA-C9A2-EC0F-D4BD-AE937EA37A6C}"/>
                    </a:ext>
                  </a:extLst>
                </p:cNvPr>
                <p:cNvSpPr/>
                <p:nvPr/>
              </p:nvSpPr>
              <p:spPr>
                <a:xfrm flipV="1">
                  <a:off x="10393794" y="1824853"/>
                  <a:ext cx="168304" cy="168303"/>
                </a:xfrm>
                <a:custGeom>
                  <a:avLst/>
                  <a:gdLst>
                    <a:gd name="connsiteX0" fmla="*/ 112791 w 112597"/>
                    <a:gd name="connsiteY0" fmla="*/ 56576 h 112596"/>
                    <a:gd name="connsiteX1" fmla="*/ 56493 w 112597"/>
                    <a:gd name="connsiteY1" fmla="*/ 112874 h 112596"/>
                    <a:gd name="connsiteX2" fmla="*/ 193 w 112597"/>
                    <a:gd name="connsiteY2" fmla="*/ 56576 h 112596"/>
                    <a:gd name="connsiteX3" fmla="*/ 56493 w 112597"/>
                    <a:gd name="connsiteY3" fmla="*/ 277 h 112596"/>
                    <a:gd name="connsiteX4" fmla="*/ 112791 w 112597"/>
                    <a:gd name="connsiteY4" fmla="*/ 56576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2791" y="56576"/>
                      </a:moveTo>
                      <a:cubicBezTo>
                        <a:pt x="112791" y="87669"/>
                        <a:pt x="87585" y="112874"/>
                        <a:pt x="56493" y="112874"/>
                      </a:cubicBezTo>
                      <a:cubicBezTo>
                        <a:pt x="25399" y="112874"/>
                        <a:pt x="193" y="87669"/>
                        <a:pt x="193" y="56576"/>
                      </a:cubicBezTo>
                      <a:cubicBezTo>
                        <a:pt x="193" y="25482"/>
                        <a:pt x="25399" y="277"/>
                        <a:pt x="56493" y="277"/>
                      </a:cubicBezTo>
                      <a:cubicBezTo>
                        <a:pt x="87585" y="277"/>
                        <a:pt x="112791" y="25482"/>
                        <a:pt x="112791" y="56576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1" name="Vrije vorm: vorm 100">
                  <a:extLst>
                    <a:ext uri="{FF2B5EF4-FFF2-40B4-BE49-F238E27FC236}">
                      <a16:creationId xmlns:a16="http://schemas.microsoft.com/office/drawing/2014/main" id="{30FB119F-3C24-9514-D823-3F6EAFA66175}"/>
                    </a:ext>
                  </a:extLst>
                </p:cNvPr>
                <p:cNvSpPr/>
                <p:nvPr/>
              </p:nvSpPr>
              <p:spPr>
                <a:xfrm flipV="1">
                  <a:off x="10393795" y="1824858"/>
                  <a:ext cx="119623" cy="168293"/>
                </a:xfrm>
                <a:custGeom>
                  <a:avLst/>
                  <a:gdLst>
                    <a:gd name="connsiteX0" fmla="*/ 80200 w 80029"/>
                    <a:gd name="connsiteY0" fmla="*/ 5472 h 112589"/>
                    <a:gd name="connsiteX1" fmla="*/ 56483 w 80029"/>
                    <a:gd name="connsiteY1" fmla="*/ 246 h 112589"/>
                    <a:gd name="connsiteX2" fmla="*/ 170 w 80029"/>
                    <a:gd name="connsiteY2" fmla="*/ 56541 h 112589"/>
                    <a:gd name="connsiteX3" fmla="*/ 56483 w 80029"/>
                    <a:gd name="connsiteY3" fmla="*/ 112836 h 112589"/>
                    <a:gd name="connsiteX4" fmla="*/ 80200 w 80029"/>
                    <a:gd name="connsiteY4" fmla="*/ 107610 h 112589"/>
                    <a:gd name="connsiteX5" fmla="*/ 47605 w 80029"/>
                    <a:gd name="connsiteY5" fmla="*/ 56541 h 112589"/>
                    <a:gd name="connsiteX6" fmla="*/ 80200 w 80029"/>
                    <a:gd name="connsiteY6" fmla="*/ 5472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200" y="5472"/>
                      </a:moveTo>
                      <a:cubicBezTo>
                        <a:pt x="72997" y="2122"/>
                        <a:pt x="64957" y="246"/>
                        <a:pt x="56483" y="246"/>
                      </a:cubicBezTo>
                      <a:cubicBezTo>
                        <a:pt x="25378" y="246"/>
                        <a:pt x="170" y="25454"/>
                        <a:pt x="170" y="56541"/>
                      </a:cubicBezTo>
                      <a:cubicBezTo>
                        <a:pt x="170" y="87644"/>
                        <a:pt x="25378" y="112836"/>
                        <a:pt x="56483" y="112836"/>
                      </a:cubicBezTo>
                      <a:cubicBezTo>
                        <a:pt x="64957" y="112836"/>
                        <a:pt x="72997" y="110961"/>
                        <a:pt x="80200" y="107610"/>
                      </a:cubicBezTo>
                      <a:cubicBezTo>
                        <a:pt x="60954" y="98666"/>
                        <a:pt x="47605" y="79170"/>
                        <a:pt x="47605" y="56541"/>
                      </a:cubicBezTo>
                      <a:cubicBezTo>
                        <a:pt x="47605" y="33930"/>
                        <a:pt x="60954" y="14416"/>
                        <a:pt x="80200" y="5472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2" name="Vrije vorm: vorm 101">
                  <a:extLst>
                    <a:ext uri="{FF2B5EF4-FFF2-40B4-BE49-F238E27FC236}">
                      <a16:creationId xmlns:a16="http://schemas.microsoft.com/office/drawing/2014/main" id="{9B370C4E-6E98-8582-3B61-0C89CE2259E7}"/>
                    </a:ext>
                  </a:extLst>
                </p:cNvPr>
                <p:cNvSpPr/>
                <p:nvPr/>
              </p:nvSpPr>
              <p:spPr>
                <a:xfrm flipV="1">
                  <a:off x="10730325" y="1692818"/>
                  <a:ext cx="168304" cy="168303"/>
                </a:xfrm>
                <a:custGeom>
                  <a:avLst/>
                  <a:gdLst>
                    <a:gd name="connsiteX0" fmla="*/ 112976 w 112597"/>
                    <a:gd name="connsiteY0" fmla="*/ 56503 h 112596"/>
                    <a:gd name="connsiteX1" fmla="*/ 56678 w 112597"/>
                    <a:gd name="connsiteY1" fmla="*/ 112801 h 112596"/>
                    <a:gd name="connsiteX2" fmla="*/ 378 w 112597"/>
                    <a:gd name="connsiteY2" fmla="*/ 56503 h 112596"/>
                    <a:gd name="connsiteX3" fmla="*/ 56678 w 112597"/>
                    <a:gd name="connsiteY3" fmla="*/ 205 h 112596"/>
                    <a:gd name="connsiteX4" fmla="*/ 112976 w 112597"/>
                    <a:gd name="connsiteY4" fmla="*/ 56503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2976" y="56503"/>
                      </a:moveTo>
                      <a:cubicBezTo>
                        <a:pt x="112976" y="87597"/>
                        <a:pt x="87770" y="112801"/>
                        <a:pt x="56678" y="112801"/>
                      </a:cubicBezTo>
                      <a:cubicBezTo>
                        <a:pt x="25584" y="112801"/>
                        <a:pt x="378" y="87597"/>
                        <a:pt x="378" y="56503"/>
                      </a:cubicBezTo>
                      <a:cubicBezTo>
                        <a:pt x="378" y="25410"/>
                        <a:pt x="25584" y="205"/>
                        <a:pt x="56678" y="205"/>
                      </a:cubicBezTo>
                      <a:cubicBezTo>
                        <a:pt x="87770" y="205"/>
                        <a:pt x="112976" y="25410"/>
                        <a:pt x="112976" y="56503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3" name="Vrije vorm: vorm 102">
                  <a:extLst>
                    <a:ext uri="{FF2B5EF4-FFF2-40B4-BE49-F238E27FC236}">
                      <a16:creationId xmlns:a16="http://schemas.microsoft.com/office/drawing/2014/main" id="{DCCBF3DF-084A-5948-4D75-114B4A288346}"/>
                    </a:ext>
                  </a:extLst>
                </p:cNvPr>
                <p:cNvSpPr/>
                <p:nvPr/>
              </p:nvSpPr>
              <p:spPr>
                <a:xfrm flipV="1">
                  <a:off x="10730325" y="1692822"/>
                  <a:ext cx="119623" cy="168293"/>
                </a:xfrm>
                <a:custGeom>
                  <a:avLst/>
                  <a:gdLst>
                    <a:gd name="connsiteX0" fmla="*/ 80384 w 80029"/>
                    <a:gd name="connsiteY0" fmla="*/ 5399 h 112589"/>
                    <a:gd name="connsiteX1" fmla="*/ 56667 w 80029"/>
                    <a:gd name="connsiteY1" fmla="*/ 174 h 112589"/>
                    <a:gd name="connsiteX2" fmla="*/ 355 w 80029"/>
                    <a:gd name="connsiteY2" fmla="*/ 56468 h 112589"/>
                    <a:gd name="connsiteX3" fmla="*/ 56667 w 80029"/>
                    <a:gd name="connsiteY3" fmla="*/ 112763 h 112589"/>
                    <a:gd name="connsiteX4" fmla="*/ 80384 w 80029"/>
                    <a:gd name="connsiteY4" fmla="*/ 107538 h 112589"/>
                    <a:gd name="connsiteX5" fmla="*/ 47790 w 80029"/>
                    <a:gd name="connsiteY5" fmla="*/ 56468 h 112589"/>
                    <a:gd name="connsiteX6" fmla="*/ 80384 w 80029"/>
                    <a:gd name="connsiteY6" fmla="*/ 5399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384" y="5399"/>
                      </a:moveTo>
                      <a:cubicBezTo>
                        <a:pt x="73181" y="2050"/>
                        <a:pt x="65141" y="174"/>
                        <a:pt x="56667" y="174"/>
                      </a:cubicBezTo>
                      <a:cubicBezTo>
                        <a:pt x="25562" y="174"/>
                        <a:pt x="355" y="25381"/>
                        <a:pt x="355" y="56468"/>
                      </a:cubicBezTo>
                      <a:cubicBezTo>
                        <a:pt x="355" y="87572"/>
                        <a:pt x="25562" y="112763"/>
                        <a:pt x="56667" y="112763"/>
                      </a:cubicBezTo>
                      <a:cubicBezTo>
                        <a:pt x="65141" y="112763"/>
                        <a:pt x="73181" y="110889"/>
                        <a:pt x="80384" y="107538"/>
                      </a:cubicBezTo>
                      <a:cubicBezTo>
                        <a:pt x="61138" y="98594"/>
                        <a:pt x="47790" y="79098"/>
                        <a:pt x="47790" y="56468"/>
                      </a:cubicBezTo>
                      <a:cubicBezTo>
                        <a:pt x="47790" y="33857"/>
                        <a:pt x="61138" y="14343"/>
                        <a:pt x="80384" y="5399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4" name="Vrije vorm: vorm 103">
                  <a:extLst>
                    <a:ext uri="{FF2B5EF4-FFF2-40B4-BE49-F238E27FC236}">
                      <a16:creationId xmlns:a16="http://schemas.microsoft.com/office/drawing/2014/main" id="{DAF93302-6C84-07C9-1713-5BFAB97C2FCF}"/>
                    </a:ext>
                  </a:extLst>
                </p:cNvPr>
                <p:cNvSpPr/>
                <p:nvPr/>
              </p:nvSpPr>
              <p:spPr>
                <a:xfrm flipV="1">
                  <a:off x="11080367" y="1909011"/>
                  <a:ext cx="168304" cy="168303"/>
                </a:xfrm>
                <a:custGeom>
                  <a:avLst/>
                  <a:gdLst>
                    <a:gd name="connsiteX0" fmla="*/ 113168 w 112597"/>
                    <a:gd name="connsiteY0" fmla="*/ 56622 h 112596"/>
                    <a:gd name="connsiteX1" fmla="*/ 56870 w 112597"/>
                    <a:gd name="connsiteY1" fmla="*/ 112920 h 112596"/>
                    <a:gd name="connsiteX2" fmla="*/ 570 w 112597"/>
                    <a:gd name="connsiteY2" fmla="*/ 56622 h 112596"/>
                    <a:gd name="connsiteX3" fmla="*/ 56870 w 112597"/>
                    <a:gd name="connsiteY3" fmla="*/ 324 h 112596"/>
                    <a:gd name="connsiteX4" fmla="*/ 113168 w 112597"/>
                    <a:gd name="connsiteY4" fmla="*/ 56622 h 112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2597" h="112596">
                      <a:moveTo>
                        <a:pt x="113168" y="56622"/>
                      </a:moveTo>
                      <a:cubicBezTo>
                        <a:pt x="113168" y="87715"/>
                        <a:pt x="87962" y="112920"/>
                        <a:pt x="56870" y="112920"/>
                      </a:cubicBezTo>
                      <a:cubicBezTo>
                        <a:pt x="25776" y="112920"/>
                        <a:pt x="570" y="87715"/>
                        <a:pt x="570" y="56622"/>
                      </a:cubicBezTo>
                      <a:cubicBezTo>
                        <a:pt x="570" y="25528"/>
                        <a:pt x="25776" y="324"/>
                        <a:pt x="56870" y="324"/>
                      </a:cubicBezTo>
                      <a:cubicBezTo>
                        <a:pt x="87962" y="324"/>
                        <a:pt x="113168" y="25528"/>
                        <a:pt x="113168" y="56622"/>
                      </a:cubicBezTo>
                    </a:path>
                  </a:pathLst>
                </a:custGeom>
                <a:solidFill>
                  <a:schemeClr val="accent3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05" name="Vrije vorm: vorm 104">
                  <a:extLst>
                    <a:ext uri="{FF2B5EF4-FFF2-40B4-BE49-F238E27FC236}">
                      <a16:creationId xmlns:a16="http://schemas.microsoft.com/office/drawing/2014/main" id="{6DD8D8B8-FEB8-49A9-7405-7168E750DBBB}"/>
                    </a:ext>
                  </a:extLst>
                </p:cNvPr>
                <p:cNvSpPr/>
                <p:nvPr/>
              </p:nvSpPr>
              <p:spPr>
                <a:xfrm flipV="1">
                  <a:off x="11080369" y="1909015"/>
                  <a:ext cx="119623" cy="168293"/>
                </a:xfrm>
                <a:custGeom>
                  <a:avLst/>
                  <a:gdLst>
                    <a:gd name="connsiteX0" fmla="*/ 80576 w 80029"/>
                    <a:gd name="connsiteY0" fmla="*/ 5518 h 112589"/>
                    <a:gd name="connsiteX1" fmla="*/ 56859 w 80029"/>
                    <a:gd name="connsiteY1" fmla="*/ 292 h 112589"/>
                    <a:gd name="connsiteX2" fmla="*/ 547 w 80029"/>
                    <a:gd name="connsiteY2" fmla="*/ 56587 h 112589"/>
                    <a:gd name="connsiteX3" fmla="*/ 56859 w 80029"/>
                    <a:gd name="connsiteY3" fmla="*/ 112882 h 112589"/>
                    <a:gd name="connsiteX4" fmla="*/ 80576 w 80029"/>
                    <a:gd name="connsiteY4" fmla="*/ 107656 h 112589"/>
                    <a:gd name="connsiteX5" fmla="*/ 47982 w 80029"/>
                    <a:gd name="connsiteY5" fmla="*/ 56587 h 112589"/>
                    <a:gd name="connsiteX6" fmla="*/ 80576 w 80029"/>
                    <a:gd name="connsiteY6" fmla="*/ 5518 h 112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029" h="112589">
                      <a:moveTo>
                        <a:pt x="80576" y="5518"/>
                      </a:moveTo>
                      <a:cubicBezTo>
                        <a:pt x="73373" y="2168"/>
                        <a:pt x="65333" y="292"/>
                        <a:pt x="56859" y="292"/>
                      </a:cubicBezTo>
                      <a:cubicBezTo>
                        <a:pt x="25754" y="292"/>
                        <a:pt x="547" y="25500"/>
                        <a:pt x="547" y="56587"/>
                      </a:cubicBezTo>
                      <a:cubicBezTo>
                        <a:pt x="547" y="87690"/>
                        <a:pt x="25754" y="112882"/>
                        <a:pt x="56859" y="112882"/>
                      </a:cubicBezTo>
                      <a:cubicBezTo>
                        <a:pt x="65333" y="112882"/>
                        <a:pt x="73373" y="111007"/>
                        <a:pt x="80576" y="107656"/>
                      </a:cubicBezTo>
                      <a:cubicBezTo>
                        <a:pt x="61331" y="98712"/>
                        <a:pt x="47982" y="79216"/>
                        <a:pt x="47982" y="56587"/>
                      </a:cubicBezTo>
                      <a:cubicBezTo>
                        <a:pt x="47982" y="33976"/>
                        <a:pt x="61331" y="14462"/>
                        <a:pt x="80576" y="5518"/>
                      </a:cubicBezTo>
                    </a:path>
                  </a:pathLst>
                </a:custGeom>
                <a:solidFill>
                  <a:srgbClr val="FF8B4B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11" name="Vrije vorm: vorm 110">
                  <a:extLst>
                    <a:ext uri="{FF2B5EF4-FFF2-40B4-BE49-F238E27FC236}">
                      <a16:creationId xmlns:a16="http://schemas.microsoft.com/office/drawing/2014/main" id="{66C8339D-D84C-4BAF-2899-827ADD2F13D1}"/>
                    </a:ext>
                  </a:extLst>
                </p:cNvPr>
                <p:cNvSpPr/>
                <p:nvPr/>
              </p:nvSpPr>
              <p:spPr>
                <a:xfrm flipV="1">
                  <a:off x="8758066" y="2640558"/>
                  <a:ext cx="300643" cy="668265"/>
                </a:xfrm>
                <a:custGeom>
                  <a:avLst/>
                  <a:gdLst>
                    <a:gd name="connsiteX0" fmla="*/ 185523 w 262059"/>
                    <a:gd name="connsiteY0" fmla="*/ 265 h 582501"/>
                    <a:gd name="connsiteX1" fmla="*/ 7044 w 262059"/>
                    <a:gd name="connsiteY1" fmla="*/ 265 h 582501"/>
                    <a:gd name="connsiteX2" fmla="*/ 604 w 262059"/>
                    <a:gd name="connsiteY2" fmla="*/ 8497 h 582501"/>
                    <a:gd name="connsiteX3" fmla="*/ 6054 w 262059"/>
                    <a:gd name="connsiteY3" fmla="*/ 19845 h 582501"/>
                    <a:gd name="connsiteX4" fmla="*/ 22971 w 262059"/>
                    <a:gd name="connsiteY4" fmla="*/ 31654 h 582501"/>
                    <a:gd name="connsiteX5" fmla="*/ 25617 w 262059"/>
                    <a:gd name="connsiteY5" fmla="*/ 32425 h 582501"/>
                    <a:gd name="connsiteX6" fmla="*/ 48982 w 262059"/>
                    <a:gd name="connsiteY6" fmla="*/ 61803 h 582501"/>
                    <a:gd name="connsiteX7" fmla="*/ 80708 w 262059"/>
                    <a:gd name="connsiteY7" fmla="*/ 576547 h 582501"/>
                    <a:gd name="connsiteX8" fmla="*/ 87322 w 262059"/>
                    <a:gd name="connsiteY8" fmla="*/ 582766 h 582501"/>
                    <a:gd name="connsiteX9" fmla="*/ 105245 w 262059"/>
                    <a:gd name="connsiteY9" fmla="*/ 582766 h 582501"/>
                    <a:gd name="connsiteX10" fmla="*/ 111859 w 262059"/>
                    <a:gd name="connsiteY10" fmla="*/ 576547 h 582501"/>
                    <a:gd name="connsiteX11" fmla="*/ 137649 w 262059"/>
                    <a:gd name="connsiteY11" fmla="*/ 157999 h 582501"/>
                    <a:gd name="connsiteX12" fmla="*/ 149716 w 262059"/>
                    <a:gd name="connsiteY12" fmla="*/ 154641 h 582501"/>
                    <a:gd name="connsiteX13" fmla="*/ 236487 w 262059"/>
                    <a:gd name="connsiteY13" fmla="*/ 280341 h 582501"/>
                    <a:gd name="connsiteX14" fmla="*/ 245497 w 262059"/>
                    <a:gd name="connsiteY14" fmla="*/ 282167 h 582501"/>
                    <a:gd name="connsiteX15" fmla="*/ 259382 w 262059"/>
                    <a:gd name="connsiteY15" fmla="*/ 273328 h 582501"/>
                    <a:gd name="connsiteX16" fmla="*/ 261543 w 262059"/>
                    <a:gd name="connsiteY16" fmla="*/ 264391 h 582501"/>
                    <a:gd name="connsiteX17" fmla="*/ 143518 w 262059"/>
                    <a:gd name="connsiteY17" fmla="*/ 62774 h 582501"/>
                    <a:gd name="connsiteX18" fmla="*/ 143585 w 262059"/>
                    <a:gd name="connsiteY18" fmla="*/ 61803 h 582501"/>
                    <a:gd name="connsiteX19" fmla="*/ 166951 w 262059"/>
                    <a:gd name="connsiteY19" fmla="*/ 32425 h 582501"/>
                    <a:gd name="connsiteX20" fmla="*/ 169597 w 262059"/>
                    <a:gd name="connsiteY20" fmla="*/ 31654 h 582501"/>
                    <a:gd name="connsiteX21" fmla="*/ 191963 w 262059"/>
                    <a:gd name="connsiteY21" fmla="*/ 8498 h 582501"/>
                    <a:gd name="connsiteX22" fmla="*/ 185523 w 262059"/>
                    <a:gd name="connsiteY22" fmla="*/ 265 h 582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2059" h="582501">
                      <a:moveTo>
                        <a:pt x="185523" y="265"/>
                      </a:moveTo>
                      <a:lnTo>
                        <a:pt x="7044" y="265"/>
                      </a:lnTo>
                      <a:cubicBezTo>
                        <a:pt x="2735" y="265"/>
                        <a:pt x="-479" y="4326"/>
                        <a:pt x="604" y="8497"/>
                      </a:cubicBezTo>
                      <a:cubicBezTo>
                        <a:pt x="1677" y="12628"/>
                        <a:pt x="3542" y="16476"/>
                        <a:pt x="6054" y="19845"/>
                      </a:cubicBezTo>
                      <a:cubicBezTo>
                        <a:pt x="10174" y="25355"/>
                        <a:pt x="16019" y="29576"/>
                        <a:pt x="22971" y="31654"/>
                      </a:cubicBezTo>
                      <a:lnTo>
                        <a:pt x="25617" y="32425"/>
                      </a:lnTo>
                      <a:cubicBezTo>
                        <a:pt x="38799" y="36343"/>
                        <a:pt x="48129" y="48068"/>
                        <a:pt x="48982" y="61803"/>
                      </a:cubicBezTo>
                      <a:lnTo>
                        <a:pt x="80708" y="576547"/>
                      </a:lnTo>
                      <a:cubicBezTo>
                        <a:pt x="80925" y="580043"/>
                        <a:pt x="83820" y="582766"/>
                        <a:pt x="87322" y="582766"/>
                      </a:cubicBezTo>
                      <a:lnTo>
                        <a:pt x="105245" y="582766"/>
                      </a:lnTo>
                      <a:cubicBezTo>
                        <a:pt x="108747" y="582766"/>
                        <a:pt x="111644" y="580043"/>
                        <a:pt x="111859" y="576547"/>
                      </a:cubicBezTo>
                      <a:lnTo>
                        <a:pt x="137649" y="157999"/>
                      </a:lnTo>
                      <a:cubicBezTo>
                        <a:pt x="138036" y="151717"/>
                        <a:pt x="146141" y="149463"/>
                        <a:pt x="149716" y="154641"/>
                      </a:cubicBezTo>
                      <a:lnTo>
                        <a:pt x="236487" y="280341"/>
                      </a:lnTo>
                      <a:cubicBezTo>
                        <a:pt x="238511" y="283274"/>
                        <a:pt x="242493" y="284080"/>
                        <a:pt x="245497" y="282167"/>
                      </a:cubicBezTo>
                      <a:lnTo>
                        <a:pt x="259382" y="273328"/>
                      </a:lnTo>
                      <a:cubicBezTo>
                        <a:pt x="262389" y="271415"/>
                        <a:pt x="263343" y="267465"/>
                        <a:pt x="261543" y="264391"/>
                      </a:cubicBezTo>
                      <a:lnTo>
                        <a:pt x="143518" y="62774"/>
                      </a:lnTo>
                      <a:lnTo>
                        <a:pt x="143585" y="61803"/>
                      </a:lnTo>
                      <a:cubicBezTo>
                        <a:pt x="144438" y="48068"/>
                        <a:pt x="153768" y="36343"/>
                        <a:pt x="166951" y="32425"/>
                      </a:cubicBezTo>
                      <a:lnTo>
                        <a:pt x="169597" y="31654"/>
                      </a:lnTo>
                      <a:cubicBezTo>
                        <a:pt x="180772" y="28324"/>
                        <a:pt x="189128" y="19406"/>
                        <a:pt x="191963" y="8498"/>
                      </a:cubicBezTo>
                      <a:cubicBezTo>
                        <a:pt x="193046" y="4328"/>
                        <a:pt x="189833" y="265"/>
                        <a:pt x="185523" y="265"/>
                      </a:cubicBezTo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12" name="Vrije vorm: vorm 111">
                  <a:extLst>
                    <a:ext uri="{FF2B5EF4-FFF2-40B4-BE49-F238E27FC236}">
                      <a16:creationId xmlns:a16="http://schemas.microsoft.com/office/drawing/2014/main" id="{7D4E08F5-3C6C-20CD-63F5-B0F2BA32EB11}"/>
                    </a:ext>
                  </a:extLst>
                </p:cNvPr>
                <p:cNvSpPr/>
                <p:nvPr/>
              </p:nvSpPr>
              <p:spPr>
                <a:xfrm flipV="1">
                  <a:off x="8758067" y="2640558"/>
                  <a:ext cx="117713" cy="668265"/>
                </a:xfrm>
                <a:custGeom>
                  <a:avLst/>
                  <a:gdLst>
                    <a:gd name="connsiteX0" fmla="*/ 96301 w 102606"/>
                    <a:gd name="connsiteY0" fmla="*/ 583125 h 582501"/>
                    <a:gd name="connsiteX1" fmla="*/ 102923 w 102606"/>
                    <a:gd name="connsiteY1" fmla="*/ 576267 h 582501"/>
                    <a:gd name="connsiteX2" fmla="*/ 84990 w 102606"/>
                    <a:gd name="connsiteY2" fmla="*/ 62161 h 582501"/>
                    <a:gd name="connsiteX3" fmla="*/ 71740 w 102606"/>
                    <a:gd name="connsiteY3" fmla="*/ 32783 h 582501"/>
                    <a:gd name="connsiteX4" fmla="*/ 70249 w 102606"/>
                    <a:gd name="connsiteY4" fmla="*/ 32012 h 582501"/>
                    <a:gd name="connsiteX5" fmla="*/ 60670 w 102606"/>
                    <a:gd name="connsiteY5" fmla="*/ 20204 h 582501"/>
                    <a:gd name="connsiteX6" fmla="*/ 57301 w 102606"/>
                    <a:gd name="connsiteY6" fmla="*/ 6634 h 582501"/>
                    <a:gd name="connsiteX7" fmla="*/ 50708 w 102606"/>
                    <a:gd name="connsiteY7" fmla="*/ 623 h 582501"/>
                    <a:gd name="connsiteX8" fmla="*/ 6973 w 102606"/>
                    <a:gd name="connsiteY8" fmla="*/ 623 h 582501"/>
                    <a:gd name="connsiteX9" fmla="*/ 533 w 102606"/>
                    <a:gd name="connsiteY9" fmla="*/ 8855 h 582501"/>
                    <a:gd name="connsiteX10" fmla="*/ 5981 w 102606"/>
                    <a:gd name="connsiteY10" fmla="*/ 20204 h 582501"/>
                    <a:gd name="connsiteX11" fmla="*/ 22899 w 102606"/>
                    <a:gd name="connsiteY11" fmla="*/ 32012 h 582501"/>
                    <a:gd name="connsiteX12" fmla="*/ 25546 w 102606"/>
                    <a:gd name="connsiteY12" fmla="*/ 32783 h 582501"/>
                    <a:gd name="connsiteX13" fmla="*/ 48911 w 102606"/>
                    <a:gd name="connsiteY13" fmla="*/ 62161 h 582501"/>
                    <a:gd name="connsiteX14" fmla="*/ 80637 w 102606"/>
                    <a:gd name="connsiteY14" fmla="*/ 576906 h 582501"/>
                    <a:gd name="connsiteX15" fmla="*/ 87251 w 102606"/>
                    <a:gd name="connsiteY15" fmla="*/ 583125 h 582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2606" h="582501">
                      <a:moveTo>
                        <a:pt x="96301" y="583125"/>
                      </a:moveTo>
                      <a:cubicBezTo>
                        <a:pt x="100052" y="583125"/>
                        <a:pt x="103055" y="580014"/>
                        <a:pt x="102923" y="576267"/>
                      </a:cubicBezTo>
                      <a:lnTo>
                        <a:pt x="84990" y="62161"/>
                      </a:lnTo>
                      <a:cubicBezTo>
                        <a:pt x="84504" y="48426"/>
                        <a:pt x="79211" y="36701"/>
                        <a:pt x="71740" y="32783"/>
                      </a:cubicBezTo>
                      <a:lnTo>
                        <a:pt x="70249" y="32012"/>
                      </a:lnTo>
                      <a:cubicBezTo>
                        <a:pt x="66313" y="29935"/>
                        <a:pt x="62998" y="25714"/>
                        <a:pt x="60670" y="20204"/>
                      </a:cubicBezTo>
                      <a:cubicBezTo>
                        <a:pt x="58998" y="16236"/>
                        <a:pt x="57828" y="11606"/>
                        <a:pt x="57301" y="6634"/>
                      </a:cubicBezTo>
                      <a:cubicBezTo>
                        <a:pt x="56940" y="3232"/>
                        <a:pt x="54129" y="623"/>
                        <a:pt x="50708" y="623"/>
                      </a:cubicBezTo>
                      <a:lnTo>
                        <a:pt x="6973" y="623"/>
                      </a:lnTo>
                      <a:cubicBezTo>
                        <a:pt x="2663" y="623"/>
                        <a:pt x="-550" y="4684"/>
                        <a:pt x="533" y="8855"/>
                      </a:cubicBezTo>
                      <a:cubicBezTo>
                        <a:pt x="1606" y="12985"/>
                        <a:pt x="3469" y="16835"/>
                        <a:pt x="5981" y="20204"/>
                      </a:cubicBezTo>
                      <a:cubicBezTo>
                        <a:pt x="10103" y="25714"/>
                        <a:pt x="15948" y="29935"/>
                        <a:pt x="22899" y="32012"/>
                      </a:cubicBezTo>
                      <a:lnTo>
                        <a:pt x="25546" y="32783"/>
                      </a:lnTo>
                      <a:cubicBezTo>
                        <a:pt x="38727" y="36701"/>
                        <a:pt x="48056" y="48426"/>
                        <a:pt x="48911" y="62161"/>
                      </a:cubicBezTo>
                      <a:lnTo>
                        <a:pt x="80637" y="576906"/>
                      </a:lnTo>
                      <a:cubicBezTo>
                        <a:pt x="80852" y="580401"/>
                        <a:pt x="83749" y="583125"/>
                        <a:pt x="87251" y="583125"/>
                      </a:cubicBezTo>
                      <a:close/>
                    </a:path>
                  </a:pathLst>
                </a:custGeom>
                <a:solidFill>
                  <a:srgbClr val="BE4E30"/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13" name="Vrije vorm: vorm 112">
                  <a:extLst>
                    <a:ext uri="{FF2B5EF4-FFF2-40B4-BE49-F238E27FC236}">
                      <a16:creationId xmlns:a16="http://schemas.microsoft.com/office/drawing/2014/main" id="{8ED2A76F-DA9B-3E9F-6C55-BB0F0930FD0D}"/>
                    </a:ext>
                  </a:extLst>
                </p:cNvPr>
                <p:cNvSpPr/>
                <p:nvPr/>
              </p:nvSpPr>
              <p:spPr>
                <a:xfrm flipV="1">
                  <a:off x="8424952" y="2353802"/>
                  <a:ext cx="917164" cy="729480"/>
                </a:xfrm>
                <a:custGeom>
                  <a:avLst/>
                  <a:gdLst>
                    <a:gd name="connsiteX0" fmla="*/ 69116 w 799457"/>
                    <a:gd name="connsiteY0" fmla="*/ 194205 h 635860"/>
                    <a:gd name="connsiteX1" fmla="*/ 63343 w 799457"/>
                    <a:gd name="connsiteY1" fmla="*/ 168952 h 635860"/>
                    <a:gd name="connsiteX2" fmla="*/ 121358 w 799457"/>
                    <a:gd name="connsiteY2" fmla="*/ 110937 h 635860"/>
                    <a:gd name="connsiteX3" fmla="*/ 134827 w 799457"/>
                    <a:gd name="connsiteY3" fmla="*/ 112525 h 635860"/>
                    <a:gd name="connsiteX4" fmla="*/ 179373 w 799457"/>
                    <a:gd name="connsiteY4" fmla="*/ 69195 h 635860"/>
                    <a:gd name="connsiteX5" fmla="*/ 207537 w 799457"/>
                    <a:gd name="connsiteY5" fmla="*/ 79224 h 635860"/>
                    <a:gd name="connsiteX6" fmla="*/ 251649 w 799457"/>
                    <a:gd name="connsiteY6" fmla="*/ 41053 h 635860"/>
                    <a:gd name="connsiteX7" fmla="*/ 270268 w 799457"/>
                    <a:gd name="connsiteY7" fmla="*/ 45129 h 635860"/>
                    <a:gd name="connsiteX8" fmla="*/ 332109 w 799457"/>
                    <a:gd name="connsiteY8" fmla="*/ 185 h 635860"/>
                    <a:gd name="connsiteX9" fmla="*/ 392511 w 799457"/>
                    <a:gd name="connsiteY9" fmla="*/ 41159 h 635860"/>
                    <a:gd name="connsiteX10" fmla="*/ 429279 w 799457"/>
                    <a:gd name="connsiteY10" fmla="*/ 21781 h 635860"/>
                    <a:gd name="connsiteX11" fmla="*/ 466592 w 799457"/>
                    <a:gd name="connsiteY11" fmla="*/ 41980 h 635860"/>
                    <a:gd name="connsiteX12" fmla="*/ 509538 w 799457"/>
                    <a:gd name="connsiteY12" fmla="*/ 9345 h 635860"/>
                    <a:gd name="connsiteX13" fmla="*/ 553809 w 799457"/>
                    <a:gd name="connsiteY13" fmla="*/ 48761 h 635860"/>
                    <a:gd name="connsiteX14" fmla="*/ 608898 w 799457"/>
                    <a:gd name="connsiteY14" fmla="*/ 24617 h 635860"/>
                    <a:gd name="connsiteX15" fmla="*/ 683853 w 799457"/>
                    <a:gd name="connsiteY15" fmla="*/ 99572 h 635860"/>
                    <a:gd name="connsiteX16" fmla="*/ 681803 w 799457"/>
                    <a:gd name="connsiteY16" fmla="*/ 116963 h 635860"/>
                    <a:gd name="connsiteX17" fmla="*/ 704175 w 799457"/>
                    <a:gd name="connsiteY17" fmla="*/ 110937 h 635860"/>
                    <a:gd name="connsiteX18" fmla="*/ 748752 w 799457"/>
                    <a:gd name="connsiteY18" fmla="*/ 155514 h 635860"/>
                    <a:gd name="connsiteX19" fmla="*/ 737299 w 799457"/>
                    <a:gd name="connsiteY19" fmla="*/ 185341 h 635860"/>
                    <a:gd name="connsiteX20" fmla="*/ 799595 w 799457"/>
                    <a:gd name="connsiteY20" fmla="*/ 259209 h 635860"/>
                    <a:gd name="connsiteX21" fmla="*/ 724640 w 799457"/>
                    <a:gd name="connsiteY21" fmla="*/ 334164 h 635860"/>
                    <a:gd name="connsiteX22" fmla="*/ 718369 w 799457"/>
                    <a:gd name="connsiteY22" fmla="*/ 333883 h 635860"/>
                    <a:gd name="connsiteX23" fmla="*/ 718376 w 799457"/>
                    <a:gd name="connsiteY23" fmla="*/ 334164 h 635860"/>
                    <a:gd name="connsiteX24" fmla="*/ 673798 w 799457"/>
                    <a:gd name="connsiteY24" fmla="*/ 378741 h 635860"/>
                    <a:gd name="connsiteX25" fmla="*/ 639099 w 799457"/>
                    <a:gd name="connsiteY25" fmla="*/ 362136 h 635860"/>
                    <a:gd name="connsiteX26" fmla="*/ 639123 w 799457"/>
                    <a:gd name="connsiteY26" fmla="*/ 363126 h 635860"/>
                    <a:gd name="connsiteX27" fmla="*/ 594546 w 799457"/>
                    <a:gd name="connsiteY27" fmla="*/ 407703 h 635860"/>
                    <a:gd name="connsiteX28" fmla="*/ 559988 w 799457"/>
                    <a:gd name="connsiteY28" fmla="*/ 391278 h 635860"/>
                    <a:gd name="connsiteX29" fmla="*/ 560010 w 799457"/>
                    <a:gd name="connsiteY29" fmla="*/ 392177 h 635860"/>
                    <a:gd name="connsiteX30" fmla="*/ 524231 w 799457"/>
                    <a:gd name="connsiteY30" fmla="*/ 445772 h 635860"/>
                    <a:gd name="connsiteX31" fmla="*/ 533944 w 799457"/>
                    <a:gd name="connsiteY31" fmla="*/ 482656 h 635860"/>
                    <a:gd name="connsiteX32" fmla="*/ 458991 w 799457"/>
                    <a:gd name="connsiteY32" fmla="*/ 557612 h 635860"/>
                    <a:gd name="connsiteX33" fmla="*/ 420115 w 799457"/>
                    <a:gd name="connsiteY33" fmla="*/ 546754 h 635860"/>
                    <a:gd name="connsiteX34" fmla="*/ 429279 w 799457"/>
                    <a:gd name="connsiteY34" fmla="*/ 578030 h 635860"/>
                    <a:gd name="connsiteX35" fmla="*/ 371264 w 799457"/>
                    <a:gd name="connsiteY35" fmla="*/ 636045 h 635860"/>
                    <a:gd name="connsiteX36" fmla="*/ 320996 w 799457"/>
                    <a:gd name="connsiteY36" fmla="*/ 606977 h 635860"/>
                    <a:gd name="connsiteX37" fmla="*/ 296226 w 799457"/>
                    <a:gd name="connsiteY37" fmla="*/ 614490 h 635860"/>
                    <a:gd name="connsiteX38" fmla="*/ 251649 w 799457"/>
                    <a:gd name="connsiteY38" fmla="*/ 569913 h 635860"/>
                    <a:gd name="connsiteX39" fmla="*/ 251699 w 799457"/>
                    <a:gd name="connsiteY39" fmla="*/ 567912 h 635860"/>
                    <a:gd name="connsiteX40" fmla="*/ 206839 w 799457"/>
                    <a:gd name="connsiteY40" fmla="*/ 585019 h 635860"/>
                    <a:gd name="connsiteX41" fmla="*/ 139425 w 799457"/>
                    <a:gd name="connsiteY41" fmla="*/ 517607 h 635860"/>
                    <a:gd name="connsiteX42" fmla="*/ 140634 w 799457"/>
                    <a:gd name="connsiteY42" fmla="*/ 504915 h 635860"/>
                    <a:gd name="connsiteX43" fmla="*/ 121358 w 799457"/>
                    <a:gd name="connsiteY43" fmla="*/ 508207 h 635860"/>
                    <a:gd name="connsiteX44" fmla="*/ 63343 w 799457"/>
                    <a:gd name="connsiteY44" fmla="*/ 450192 h 635860"/>
                    <a:gd name="connsiteX45" fmla="*/ 73292 w 799457"/>
                    <a:gd name="connsiteY45" fmla="*/ 417700 h 635860"/>
                    <a:gd name="connsiteX46" fmla="*/ 63343 w 799457"/>
                    <a:gd name="connsiteY46" fmla="*/ 418829 h 635860"/>
                    <a:gd name="connsiteX47" fmla="*/ 18766 w 799457"/>
                    <a:gd name="connsiteY47" fmla="*/ 374250 h 635860"/>
                    <a:gd name="connsiteX48" fmla="*/ 41034 w 799457"/>
                    <a:gd name="connsiteY48" fmla="*/ 335664 h 635860"/>
                    <a:gd name="connsiteX49" fmla="*/ 138 w 799457"/>
                    <a:gd name="connsiteY49" fmla="*/ 268901 h 635860"/>
                    <a:gd name="connsiteX50" fmla="*/ 69116 w 799457"/>
                    <a:gd name="connsiteY50" fmla="*/ 194205 h 635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799457" h="635860">
                      <a:moveTo>
                        <a:pt x="69116" y="194205"/>
                      </a:moveTo>
                      <a:cubicBezTo>
                        <a:pt x="65419" y="186570"/>
                        <a:pt x="63343" y="178003"/>
                        <a:pt x="63343" y="168952"/>
                      </a:cubicBezTo>
                      <a:cubicBezTo>
                        <a:pt x="63343" y="136911"/>
                        <a:pt x="89318" y="110937"/>
                        <a:pt x="121358" y="110937"/>
                      </a:cubicBezTo>
                      <a:cubicBezTo>
                        <a:pt x="125997" y="110937"/>
                        <a:pt x="130502" y="111498"/>
                        <a:pt x="134827" y="112525"/>
                      </a:cubicBezTo>
                      <a:cubicBezTo>
                        <a:pt x="135489" y="88485"/>
                        <a:pt x="155172" y="69195"/>
                        <a:pt x="179373" y="69195"/>
                      </a:cubicBezTo>
                      <a:cubicBezTo>
                        <a:pt x="190055" y="69195"/>
                        <a:pt x="199858" y="72958"/>
                        <a:pt x="207537" y="79224"/>
                      </a:cubicBezTo>
                      <a:cubicBezTo>
                        <a:pt x="210644" y="57642"/>
                        <a:pt x="229205" y="41053"/>
                        <a:pt x="251649" y="41053"/>
                      </a:cubicBezTo>
                      <a:cubicBezTo>
                        <a:pt x="258299" y="41053"/>
                        <a:pt x="264601" y="42519"/>
                        <a:pt x="270268" y="45129"/>
                      </a:cubicBezTo>
                      <a:cubicBezTo>
                        <a:pt x="278726" y="19048"/>
                        <a:pt x="303209" y="185"/>
                        <a:pt x="332109" y="185"/>
                      </a:cubicBezTo>
                      <a:cubicBezTo>
                        <a:pt x="359518" y="185"/>
                        <a:pt x="382951" y="17157"/>
                        <a:pt x="392511" y="41159"/>
                      </a:cubicBezTo>
                      <a:cubicBezTo>
                        <a:pt x="400546" y="29459"/>
                        <a:pt x="414014" y="21781"/>
                        <a:pt x="429279" y="21781"/>
                      </a:cubicBezTo>
                      <a:cubicBezTo>
                        <a:pt x="444897" y="21781"/>
                        <a:pt x="458631" y="29820"/>
                        <a:pt x="466592" y="41980"/>
                      </a:cubicBezTo>
                      <a:cubicBezTo>
                        <a:pt x="471814" y="23162"/>
                        <a:pt x="489057" y="9345"/>
                        <a:pt x="509538" y="9345"/>
                      </a:cubicBezTo>
                      <a:cubicBezTo>
                        <a:pt x="532411" y="9345"/>
                        <a:pt x="551250" y="26574"/>
                        <a:pt x="553809" y="48761"/>
                      </a:cubicBezTo>
                      <a:cubicBezTo>
                        <a:pt x="567504" y="33922"/>
                        <a:pt x="587112" y="24617"/>
                        <a:pt x="608898" y="24617"/>
                      </a:cubicBezTo>
                      <a:cubicBezTo>
                        <a:pt x="650295" y="24617"/>
                        <a:pt x="683853" y="58177"/>
                        <a:pt x="683853" y="99572"/>
                      </a:cubicBezTo>
                      <a:cubicBezTo>
                        <a:pt x="683853" y="105562"/>
                        <a:pt x="683129" y="111379"/>
                        <a:pt x="681803" y="116963"/>
                      </a:cubicBezTo>
                      <a:cubicBezTo>
                        <a:pt x="688379" y="113138"/>
                        <a:pt x="696018" y="110937"/>
                        <a:pt x="704175" y="110937"/>
                      </a:cubicBezTo>
                      <a:cubicBezTo>
                        <a:pt x="728794" y="110937"/>
                        <a:pt x="748752" y="130895"/>
                        <a:pt x="748752" y="155514"/>
                      </a:cubicBezTo>
                      <a:cubicBezTo>
                        <a:pt x="748752" y="166985"/>
                        <a:pt x="744416" y="177441"/>
                        <a:pt x="737299" y="185341"/>
                      </a:cubicBezTo>
                      <a:cubicBezTo>
                        <a:pt x="772664" y="191358"/>
                        <a:pt x="799595" y="222130"/>
                        <a:pt x="799595" y="259209"/>
                      </a:cubicBezTo>
                      <a:cubicBezTo>
                        <a:pt x="799595" y="300605"/>
                        <a:pt x="766037" y="334164"/>
                        <a:pt x="724640" y="334164"/>
                      </a:cubicBezTo>
                      <a:cubicBezTo>
                        <a:pt x="722526" y="334164"/>
                        <a:pt x="720439" y="334053"/>
                        <a:pt x="718369" y="333883"/>
                      </a:cubicBezTo>
                      <a:cubicBezTo>
                        <a:pt x="718369" y="333977"/>
                        <a:pt x="718376" y="334070"/>
                        <a:pt x="718376" y="334164"/>
                      </a:cubicBezTo>
                      <a:cubicBezTo>
                        <a:pt x="718376" y="358783"/>
                        <a:pt x="698418" y="378741"/>
                        <a:pt x="673798" y="378741"/>
                      </a:cubicBezTo>
                      <a:cubicBezTo>
                        <a:pt x="659775" y="378741"/>
                        <a:pt x="647270" y="372258"/>
                        <a:pt x="639099" y="362136"/>
                      </a:cubicBezTo>
                      <a:cubicBezTo>
                        <a:pt x="639105" y="362466"/>
                        <a:pt x="639123" y="362794"/>
                        <a:pt x="639123" y="363126"/>
                      </a:cubicBezTo>
                      <a:cubicBezTo>
                        <a:pt x="639123" y="387745"/>
                        <a:pt x="619165" y="407703"/>
                        <a:pt x="594546" y="407703"/>
                      </a:cubicBezTo>
                      <a:cubicBezTo>
                        <a:pt x="580604" y="407703"/>
                        <a:pt x="568161" y="401300"/>
                        <a:pt x="559988" y="391278"/>
                      </a:cubicBezTo>
                      <a:cubicBezTo>
                        <a:pt x="559993" y="391579"/>
                        <a:pt x="560010" y="391876"/>
                        <a:pt x="560010" y="392177"/>
                      </a:cubicBezTo>
                      <a:cubicBezTo>
                        <a:pt x="560010" y="416340"/>
                        <a:pt x="545236" y="437045"/>
                        <a:pt x="524231" y="445772"/>
                      </a:cubicBezTo>
                      <a:cubicBezTo>
                        <a:pt x="530403" y="456663"/>
                        <a:pt x="533944" y="469243"/>
                        <a:pt x="533944" y="482656"/>
                      </a:cubicBezTo>
                      <a:cubicBezTo>
                        <a:pt x="533944" y="524053"/>
                        <a:pt x="500386" y="557612"/>
                        <a:pt x="458991" y="557612"/>
                      </a:cubicBezTo>
                      <a:cubicBezTo>
                        <a:pt x="444757" y="557612"/>
                        <a:pt x="431450" y="553643"/>
                        <a:pt x="420115" y="546754"/>
                      </a:cubicBezTo>
                      <a:cubicBezTo>
                        <a:pt x="425907" y="555781"/>
                        <a:pt x="429279" y="566509"/>
                        <a:pt x="429279" y="578030"/>
                      </a:cubicBezTo>
                      <a:cubicBezTo>
                        <a:pt x="429279" y="610069"/>
                        <a:pt x="403305" y="636045"/>
                        <a:pt x="371264" y="636045"/>
                      </a:cubicBezTo>
                      <a:cubicBezTo>
                        <a:pt x="349770" y="636045"/>
                        <a:pt x="331020" y="624345"/>
                        <a:pt x="320996" y="606977"/>
                      </a:cubicBezTo>
                      <a:cubicBezTo>
                        <a:pt x="313911" y="611721"/>
                        <a:pt x="305393" y="614490"/>
                        <a:pt x="296226" y="614490"/>
                      </a:cubicBezTo>
                      <a:cubicBezTo>
                        <a:pt x="271607" y="614490"/>
                        <a:pt x="251649" y="594532"/>
                        <a:pt x="251649" y="569913"/>
                      </a:cubicBezTo>
                      <a:cubicBezTo>
                        <a:pt x="251649" y="569242"/>
                        <a:pt x="251670" y="568575"/>
                        <a:pt x="251699" y="567912"/>
                      </a:cubicBezTo>
                      <a:cubicBezTo>
                        <a:pt x="239781" y="578547"/>
                        <a:pt x="224069" y="585019"/>
                        <a:pt x="206839" y="585019"/>
                      </a:cubicBezTo>
                      <a:cubicBezTo>
                        <a:pt x="169608" y="585019"/>
                        <a:pt x="139425" y="554838"/>
                        <a:pt x="139425" y="517607"/>
                      </a:cubicBezTo>
                      <a:cubicBezTo>
                        <a:pt x="139425" y="513266"/>
                        <a:pt x="139851" y="509027"/>
                        <a:pt x="140634" y="504915"/>
                      </a:cubicBezTo>
                      <a:cubicBezTo>
                        <a:pt x="134602" y="507040"/>
                        <a:pt x="128118" y="508207"/>
                        <a:pt x="121358" y="508207"/>
                      </a:cubicBezTo>
                      <a:cubicBezTo>
                        <a:pt x="89318" y="508207"/>
                        <a:pt x="63343" y="482234"/>
                        <a:pt x="63343" y="450192"/>
                      </a:cubicBezTo>
                      <a:cubicBezTo>
                        <a:pt x="63343" y="438153"/>
                        <a:pt x="67012" y="426971"/>
                        <a:pt x="73292" y="417700"/>
                      </a:cubicBezTo>
                      <a:cubicBezTo>
                        <a:pt x="70090" y="418431"/>
                        <a:pt x="66764" y="418829"/>
                        <a:pt x="63343" y="418829"/>
                      </a:cubicBezTo>
                      <a:cubicBezTo>
                        <a:pt x="38724" y="418829"/>
                        <a:pt x="18766" y="398871"/>
                        <a:pt x="18766" y="374250"/>
                      </a:cubicBezTo>
                      <a:cubicBezTo>
                        <a:pt x="18766" y="357762"/>
                        <a:pt x="27724" y="343374"/>
                        <a:pt x="41034" y="335664"/>
                      </a:cubicBezTo>
                      <a:cubicBezTo>
                        <a:pt x="16764" y="323257"/>
                        <a:pt x="138" y="298028"/>
                        <a:pt x="138" y="268901"/>
                      </a:cubicBezTo>
                      <a:cubicBezTo>
                        <a:pt x="138" y="229520"/>
                        <a:pt x="30518" y="197254"/>
                        <a:pt x="69116" y="194205"/>
                      </a:cubicBezTo>
                    </a:path>
                  </a:pathLst>
                </a:custGeom>
                <a:solidFill>
                  <a:schemeClr val="accent2">
                    <a:lumMod val="40000"/>
                    <a:lumOff val="6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14" name="Vrije vorm: vorm 113">
                  <a:extLst>
                    <a:ext uri="{FF2B5EF4-FFF2-40B4-BE49-F238E27FC236}">
                      <a16:creationId xmlns:a16="http://schemas.microsoft.com/office/drawing/2014/main" id="{A8A14D01-8B21-FA41-5434-57454602C2BC}"/>
                    </a:ext>
                  </a:extLst>
                </p:cNvPr>
                <p:cNvSpPr/>
                <p:nvPr/>
              </p:nvSpPr>
              <p:spPr>
                <a:xfrm flipV="1">
                  <a:off x="8424953" y="2353812"/>
                  <a:ext cx="487906" cy="729486"/>
                </a:xfrm>
                <a:custGeom>
                  <a:avLst/>
                  <a:gdLst>
                    <a:gd name="connsiteX0" fmla="*/ 367971 w 425289"/>
                    <a:gd name="connsiteY0" fmla="*/ 584048 h 635865"/>
                    <a:gd name="connsiteX1" fmla="*/ 413899 w 425289"/>
                    <a:gd name="connsiteY1" fmla="*/ 566527 h 635865"/>
                    <a:gd name="connsiteX2" fmla="*/ 413848 w 425289"/>
                    <a:gd name="connsiteY2" fmla="*/ 568587 h 635865"/>
                    <a:gd name="connsiteX3" fmla="*/ 425573 w 425289"/>
                    <a:gd name="connsiteY3" fmla="*/ 599105 h 635865"/>
                    <a:gd name="connsiteX4" fmla="*/ 371421 w 425289"/>
                    <a:gd name="connsiteY4" fmla="*/ 636289 h 635865"/>
                    <a:gd name="connsiteX5" fmla="*/ 321138 w 425289"/>
                    <a:gd name="connsiteY5" fmla="*/ 607230 h 635865"/>
                    <a:gd name="connsiteX6" fmla="*/ 296383 w 425289"/>
                    <a:gd name="connsiteY6" fmla="*/ 614733 h 635865"/>
                    <a:gd name="connsiteX7" fmla="*/ 251796 w 425289"/>
                    <a:gd name="connsiteY7" fmla="*/ 570163 h 635865"/>
                    <a:gd name="connsiteX8" fmla="*/ 251846 w 425289"/>
                    <a:gd name="connsiteY8" fmla="*/ 568151 h 635865"/>
                    <a:gd name="connsiteX9" fmla="*/ 206989 w 425289"/>
                    <a:gd name="connsiteY9" fmla="*/ 585270 h 635865"/>
                    <a:gd name="connsiteX10" fmla="*/ 139573 w 425289"/>
                    <a:gd name="connsiteY10" fmla="*/ 517853 h 635865"/>
                    <a:gd name="connsiteX11" fmla="*/ 140778 w 425289"/>
                    <a:gd name="connsiteY11" fmla="*/ 505156 h 635865"/>
                    <a:gd name="connsiteX12" fmla="*/ 121516 w 425289"/>
                    <a:gd name="connsiteY12" fmla="*/ 508457 h 635865"/>
                    <a:gd name="connsiteX13" fmla="*/ 63496 w 425289"/>
                    <a:gd name="connsiteY13" fmla="*/ 450435 h 635865"/>
                    <a:gd name="connsiteX14" fmla="*/ 73445 w 425289"/>
                    <a:gd name="connsiteY14" fmla="*/ 417942 h 635865"/>
                    <a:gd name="connsiteX15" fmla="*/ 63496 w 425289"/>
                    <a:gd name="connsiteY15" fmla="*/ 419080 h 635865"/>
                    <a:gd name="connsiteX16" fmla="*/ 18926 w 425289"/>
                    <a:gd name="connsiteY16" fmla="*/ 374493 h 635865"/>
                    <a:gd name="connsiteX17" fmla="*/ 41186 w 425289"/>
                    <a:gd name="connsiteY17" fmla="*/ 335902 h 635865"/>
                    <a:gd name="connsiteX18" fmla="*/ 283 w 425289"/>
                    <a:gd name="connsiteY18" fmla="*/ 269155 h 635865"/>
                    <a:gd name="connsiteX19" fmla="*/ 69275 w 425289"/>
                    <a:gd name="connsiteY19" fmla="*/ 194452 h 635865"/>
                    <a:gd name="connsiteX20" fmla="*/ 63496 w 425289"/>
                    <a:gd name="connsiteY20" fmla="*/ 169193 h 635865"/>
                    <a:gd name="connsiteX21" fmla="*/ 121516 w 425289"/>
                    <a:gd name="connsiteY21" fmla="*/ 111188 h 635865"/>
                    <a:gd name="connsiteX22" fmla="*/ 134984 w 425289"/>
                    <a:gd name="connsiteY22" fmla="*/ 112763 h 635865"/>
                    <a:gd name="connsiteX23" fmla="*/ 179520 w 425289"/>
                    <a:gd name="connsiteY23" fmla="*/ 69448 h 635865"/>
                    <a:gd name="connsiteX24" fmla="*/ 207693 w 425289"/>
                    <a:gd name="connsiteY24" fmla="*/ 79465 h 635865"/>
                    <a:gd name="connsiteX25" fmla="*/ 251796 w 425289"/>
                    <a:gd name="connsiteY25" fmla="*/ 41293 h 635865"/>
                    <a:gd name="connsiteX26" fmla="*/ 270420 w 425289"/>
                    <a:gd name="connsiteY26" fmla="*/ 45380 h 635865"/>
                    <a:gd name="connsiteX27" fmla="*/ 332261 w 425289"/>
                    <a:gd name="connsiteY27" fmla="*/ 424 h 635865"/>
                    <a:gd name="connsiteX28" fmla="*/ 389292 w 425289"/>
                    <a:gd name="connsiteY28" fmla="*/ 34291 h 635865"/>
                    <a:gd name="connsiteX29" fmla="*/ 368691 w 425289"/>
                    <a:gd name="connsiteY29" fmla="*/ 66200 h 635865"/>
                    <a:gd name="connsiteX30" fmla="*/ 339848 w 425289"/>
                    <a:gd name="connsiteY30" fmla="*/ 55932 h 635865"/>
                    <a:gd name="connsiteX31" fmla="*/ 294238 w 425289"/>
                    <a:gd name="connsiteY31" fmla="*/ 100285 h 635865"/>
                    <a:gd name="connsiteX32" fmla="*/ 280454 w 425289"/>
                    <a:gd name="connsiteY32" fmla="*/ 98660 h 635865"/>
                    <a:gd name="connsiteX33" fmla="*/ 221060 w 425289"/>
                    <a:gd name="connsiteY33" fmla="*/ 158054 h 635865"/>
                    <a:gd name="connsiteX34" fmla="*/ 226972 w 425289"/>
                    <a:gd name="connsiteY34" fmla="*/ 183916 h 635865"/>
                    <a:gd name="connsiteX35" fmla="*/ 156340 w 425289"/>
                    <a:gd name="connsiteY35" fmla="*/ 260394 h 635865"/>
                    <a:gd name="connsiteX36" fmla="*/ 198213 w 425289"/>
                    <a:gd name="connsiteY36" fmla="*/ 328750 h 635865"/>
                    <a:gd name="connsiteX37" fmla="*/ 175416 w 425289"/>
                    <a:gd name="connsiteY37" fmla="*/ 368263 h 635865"/>
                    <a:gd name="connsiteX38" fmla="*/ 221060 w 425289"/>
                    <a:gd name="connsiteY38" fmla="*/ 413888 h 635865"/>
                    <a:gd name="connsiteX39" fmla="*/ 231243 w 425289"/>
                    <a:gd name="connsiteY39" fmla="*/ 412732 h 635865"/>
                    <a:gd name="connsiteX40" fmla="*/ 221060 w 425289"/>
                    <a:gd name="connsiteY40" fmla="*/ 446014 h 635865"/>
                    <a:gd name="connsiteX41" fmla="*/ 280454 w 425289"/>
                    <a:gd name="connsiteY41" fmla="*/ 505408 h 635865"/>
                    <a:gd name="connsiteX42" fmla="*/ 300202 w 425289"/>
                    <a:gd name="connsiteY42" fmla="*/ 502041 h 635865"/>
                    <a:gd name="connsiteX43" fmla="*/ 298961 w 425289"/>
                    <a:gd name="connsiteY43" fmla="*/ 515022 h 635865"/>
                    <a:gd name="connsiteX44" fmla="*/ 367971 w 425289"/>
                    <a:gd name="connsiteY44" fmla="*/ 584048 h 635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425289" h="635865">
                      <a:moveTo>
                        <a:pt x="367971" y="584048"/>
                      </a:moveTo>
                      <a:cubicBezTo>
                        <a:pt x="385624" y="584048"/>
                        <a:pt x="401705" y="577416"/>
                        <a:pt x="413899" y="566527"/>
                      </a:cubicBezTo>
                      <a:cubicBezTo>
                        <a:pt x="413881" y="567213"/>
                        <a:pt x="413848" y="567901"/>
                        <a:pt x="413848" y="568587"/>
                      </a:cubicBezTo>
                      <a:cubicBezTo>
                        <a:pt x="413848" y="580313"/>
                        <a:pt x="418269" y="591016"/>
                        <a:pt x="425573" y="599105"/>
                      </a:cubicBezTo>
                      <a:cubicBezTo>
                        <a:pt x="417198" y="620863"/>
                        <a:pt x="396110" y="636289"/>
                        <a:pt x="371421" y="636289"/>
                      </a:cubicBezTo>
                      <a:cubicBezTo>
                        <a:pt x="349915" y="636289"/>
                        <a:pt x="331172" y="624599"/>
                        <a:pt x="321138" y="607230"/>
                      </a:cubicBezTo>
                      <a:cubicBezTo>
                        <a:pt x="314071" y="611969"/>
                        <a:pt x="305544" y="614733"/>
                        <a:pt x="296383" y="614733"/>
                      </a:cubicBezTo>
                      <a:cubicBezTo>
                        <a:pt x="271760" y="614733"/>
                        <a:pt x="251796" y="594785"/>
                        <a:pt x="251796" y="570163"/>
                      </a:cubicBezTo>
                      <a:cubicBezTo>
                        <a:pt x="251796" y="569493"/>
                        <a:pt x="251828" y="568823"/>
                        <a:pt x="251846" y="568151"/>
                      </a:cubicBezTo>
                      <a:cubicBezTo>
                        <a:pt x="239936" y="578788"/>
                        <a:pt x="224225" y="585270"/>
                        <a:pt x="206989" y="585270"/>
                      </a:cubicBezTo>
                      <a:cubicBezTo>
                        <a:pt x="169755" y="585270"/>
                        <a:pt x="139573" y="555087"/>
                        <a:pt x="139573" y="517853"/>
                      </a:cubicBezTo>
                      <a:cubicBezTo>
                        <a:pt x="139573" y="513515"/>
                        <a:pt x="140008" y="509278"/>
                        <a:pt x="140778" y="505156"/>
                      </a:cubicBezTo>
                      <a:cubicBezTo>
                        <a:pt x="134749" y="507284"/>
                        <a:pt x="128267" y="508457"/>
                        <a:pt x="121516" y="508457"/>
                      </a:cubicBezTo>
                      <a:cubicBezTo>
                        <a:pt x="89475" y="508457"/>
                        <a:pt x="63496" y="482478"/>
                        <a:pt x="63496" y="450435"/>
                      </a:cubicBezTo>
                      <a:cubicBezTo>
                        <a:pt x="63496" y="438392"/>
                        <a:pt x="67164" y="427221"/>
                        <a:pt x="73445" y="417942"/>
                      </a:cubicBezTo>
                      <a:cubicBezTo>
                        <a:pt x="70245" y="418678"/>
                        <a:pt x="66912" y="419080"/>
                        <a:pt x="63496" y="419080"/>
                      </a:cubicBezTo>
                      <a:cubicBezTo>
                        <a:pt x="38874" y="419080"/>
                        <a:pt x="18926" y="399116"/>
                        <a:pt x="18926" y="374493"/>
                      </a:cubicBezTo>
                      <a:cubicBezTo>
                        <a:pt x="18926" y="358011"/>
                        <a:pt x="27870" y="343624"/>
                        <a:pt x="41186" y="335902"/>
                      </a:cubicBezTo>
                      <a:cubicBezTo>
                        <a:pt x="16915" y="323507"/>
                        <a:pt x="283" y="298283"/>
                        <a:pt x="283" y="269155"/>
                      </a:cubicBezTo>
                      <a:cubicBezTo>
                        <a:pt x="283" y="229759"/>
                        <a:pt x="30666" y="197500"/>
                        <a:pt x="69275" y="194452"/>
                      </a:cubicBezTo>
                      <a:cubicBezTo>
                        <a:pt x="65573" y="186813"/>
                        <a:pt x="63496" y="178254"/>
                        <a:pt x="63496" y="169193"/>
                      </a:cubicBezTo>
                      <a:cubicBezTo>
                        <a:pt x="63496" y="137150"/>
                        <a:pt x="89475" y="111188"/>
                        <a:pt x="121516" y="111188"/>
                      </a:cubicBezTo>
                      <a:cubicBezTo>
                        <a:pt x="126157" y="111188"/>
                        <a:pt x="130662" y="111742"/>
                        <a:pt x="134984" y="112763"/>
                      </a:cubicBezTo>
                      <a:cubicBezTo>
                        <a:pt x="135637" y="88728"/>
                        <a:pt x="155317" y="69448"/>
                        <a:pt x="179520" y="69448"/>
                      </a:cubicBezTo>
                      <a:cubicBezTo>
                        <a:pt x="190207" y="69448"/>
                        <a:pt x="200005" y="73201"/>
                        <a:pt x="207693" y="79465"/>
                      </a:cubicBezTo>
                      <a:cubicBezTo>
                        <a:pt x="210792" y="57891"/>
                        <a:pt x="229350" y="41293"/>
                        <a:pt x="251796" y="41293"/>
                      </a:cubicBezTo>
                      <a:cubicBezTo>
                        <a:pt x="258444" y="41293"/>
                        <a:pt x="264759" y="42766"/>
                        <a:pt x="270420" y="45380"/>
                      </a:cubicBezTo>
                      <a:cubicBezTo>
                        <a:pt x="278880" y="19301"/>
                        <a:pt x="303367" y="424"/>
                        <a:pt x="332261" y="424"/>
                      </a:cubicBezTo>
                      <a:cubicBezTo>
                        <a:pt x="356866" y="424"/>
                        <a:pt x="378272" y="14108"/>
                        <a:pt x="389292" y="34291"/>
                      </a:cubicBezTo>
                      <a:cubicBezTo>
                        <a:pt x="378371" y="41275"/>
                        <a:pt x="370618" y="52801"/>
                        <a:pt x="368691" y="66200"/>
                      </a:cubicBezTo>
                      <a:cubicBezTo>
                        <a:pt x="360835" y="59784"/>
                        <a:pt x="350785" y="55932"/>
                        <a:pt x="339848" y="55932"/>
                      </a:cubicBezTo>
                      <a:cubicBezTo>
                        <a:pt x="315075" y="55932"/>
                        <a:pt x="294926" y="75679"/>
                        <a:pt x="294238" y="100285"/>
                      </a:cubicBezTo>
                      <a:cubicBezTo>
                        <a:pt x="289817" y="99230"/>
                        <a:pt x="285211" y="98660"/>
                        <a:pt x="280454" y="98660"/>
                      </a:cubicBezTo>
                      <a:cubicBezTo>
                        <a:pt x="247658" y="98660"/>
                        <a:pt x="221060" y="125258"/>
                        <a:pt x="221060" y="158054"/>
                      </a:cubicBezTo>
                      <a:cubicBezTo>
                        <a:pt x="221060" y="167333"/>
                        <a:pt x="223187" y="176094"/>
                        <a:pt x="226972" y="183916"/>
                      </a:cubicBezTo>
                      <a:cubicBezTo>
                        <a:pt x="187443" y="187031"/>
                        <a:pt x="156340" y="220077"/>
                        <a:pt x="156340" y="260394"/>
                      </a:cubicBezTo>
                      <a:cubicBezTo>
                        <a:pt x="156340" y="290208"/>
                        <a:pt x="173374" y="316036"/>
                        <a:pt x="198213" y="328750"/>
                      </a:cubicBezTo>
                      <a:cubicBezTo>
                        <a:pt x="184596" y="336639"/>
                        <a:pt x="175416" y="351378"/>
                        <a:pt x="175416" y="368263"/>
                      </a:cubicBezTo>
                      <a:cubicBezTo>
                        <a:pt x="175416" y="393454"/>
                        <a:pt x="195852" y="413888"/>
                        <a:pt x="221060" y="413888"/>
                      </a:cubicBezTo>
                      <a:cubicBezTo>
                        <a:pt x="224560" y="413888"/>
                        <a:pt x="227960" y="413487"/>
                        <a:pt x="231243" y="412732"/>
                      </a:cubicBezTo>
                      <a:cubicBezTo>
                        <a:pt x="224811" y="422229"/>
                        <a:pt x="221060" y="433687"/>
                        <a:pt x="221060" y="446014"/>
                      </a:cubicBezTo>
                      <a:cubicBezTo>
                        <a:pt x="221060" y="478810"/>
                        <a:pt x="247658" y="505408"/>
                        <a:pt x="280454" y="505408"/>
                      </a:cubicBezTo>
                      <a:cubicBezTo>
                        <a:pt x="287372" y="505408"/>
                        <a:pt x="294020" y="504202"/>
                        <a:pt x="300202" y="502041"/>
                      </a:cubicBezTo>
                      <a:cubicBezTo>
                        <a:pt x="299397" y="506246"/>
                        <a:pt x="298961" y="510583"/>
                        <a:pt x="298961" y="515022"/>
                      </a:cubicBezTo>
                      <a:cubicBezTo>
                        <a:pt x="298961" y="553144"/>
                        <a:pt x="329848" y="584048"/>
                        <a:pt x="367971" y="584048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 w="161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pic>
              <p:nvPicPr>
                <p:cNvPr id="130" name="Graphic 129">
                  <a:extLst>
                    <a:ext uri="{FF2B5EF4-FFF2-40B4-BE49-F238E27FC236}">
                      <a16:creationId xmlns:a16="http://schemas.microsoft.com/office/drawing/2014/main" id="{6E4AF11B-2475-0771-3D0D-AEB4764C21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3177" y="5091966"/>
                  <a:ext cx="486626" cy="486627"/>
                </a:xfrm>
                <a:prstGeom prst="rect">
                  <a:avLst/>
                </a:prstGeom>
              </p:spPr>
            </p:pic>
            <p:sp>
              <p:nvSpPr>
                <p:cNvPr id="131" name="Graphic 55">
                  <a:extLst>
                    <a:ext uri="{FF2B5EF4-FFF2-40B4-BE49-F238E27FC236}">
                      <a16:creationId xmlns:a16="http://schemas.microsoft.com/office/drawing/2014/main" id="{90154348-7CBD-A0E1-0EB6-661FDD16531D}"/>
                    </a:ext>
                  </a:extLst>
                </p:cNvPr>
                <p:cNvSpPr/>
                <p:nvPr/>
              </p:nvSpPr>
              <p:spPr>
                <a:xfrm>
                  <a:off x="6650496" y="5286768"/>
                  <a:ext cx="399223" cy="341461"/>
                </a:xfrm>
                <a:custGeom>
                  <a:avLst/>
                  <a:gdLst>
                    <a:gd name="connsiteX0" fmla="*/ 305932 w 492446"/>
                    <a:gd name="connsiteY0" fmla="*/ 274616 h 421195"/>
                    <a:gd name="connsiteX1" fmla="*/ 304855 w 492446"/>
                    <a:gd name="connsiteY1" fmla="*/ 274693 h 421195"/>
                    <a:gd name="connsiteX2" fmla="*/ 305240 w 492446"/>
                    <a:gd name="connsiteY2" fmla="*/ 274308 h 421195"/>
                    <a:gd name="connsiteX3" fmla="*/ 305932 w 492446"/>
                    <a:gd name="connsiteY3" fmla="*/ 274616 h 421195"/>
                    <a:gd name="connsiteX4" fmla="*/ 156121 w 492446"/>
                    <a:gd name="connsiteY4" fmla="*/ 144194 h 421195"/>
                    <a:gd name="connsiteX5" fmla="*/ 224756 w 492446"/>
                    <a:gd name="connsiteY5" fmla="*/ 72097 h 421195"/>
                    <a:gd name="connsiteX6" fmla="*/ 156121 w 492446"/>
                    <a:gd name="connsiteY6" fmla="*/ 0 h 421195"/>
                    <a:gd name="connsiteX7" fmla="*/ 87486 w 492446"/>
                    <a:gd name="connsiteY7" fmla="*/ 72097 h 421195"/>
                    <a:gd name="connsiteX8" fmla="*/ 156121 w 492446"/>
                    <a:gd name="connsiteY8" fmla="*/ 144194 h 421195"/>
                    <a:gd name="connsiteX9" fmla="*/ 252302 w 492446"/>
                    <a:gd name="connsiteY9" fmla="*/ 192977 h 421195"/>
                    <a:gd name="connsiteX10" fmla="*/ 253225 w 492446"/>
                    <a:gd name="connsiteY10" fmla="*/ 180589 h 421195"/>
                    <a:gd name="connsiteX11" fmla="*/ 156121 w 492446"/>
                    <a:gd name="connsiteY11" fmla="*/ 168201 h 421195"/>
                    <a:gd name="connsiteX12" fmla="*/ 0 w 492446"/>
                    <a:gd name="connsiteY12" fmla="*/ 256534 h 421195"/>
                    <a:gd name="connsiteX13" fmla="*/ 156121 w 492446"/>
                    <a:gd name="connsiteY13" fmla="*/ 300315 h 421195"/>
                    <a:gd name="connsiteX14" fmla="*/ 206597 w 492446"/>
                    <a:gd name="connsiteY14" fmla="*/ 299161 h 421195"/>
                    <a:gd name="connsiteX15" fmla="*/ 304855 w 492446"/>
                    <a:gd name="connsiteY15" fmla="*/ 274616 h 421195"/>
                    <a:gd name="connsiteX16" fmla="*/ 305240 w 492446"/>
                    <a:gd name="connsiteY16" fmla="*/ 274231 h 421195"/>
                    <a:gd name="connsiteX17" fmla="*/ 252302 w 492446"/>
                    <a:gd name="connsiteY17" fmla="*/ 192977 h 421195"/>
                    <a:gd name="connsiteX18" fmla="*/ 336326 w 492446"/>
                    <a:gd name="connsiteY18" fmla="*/ 289081 h 421195"/>
                    <a:gd name="connsiteX19" fmla="*/ 180128 w 492446"/>
                    <a:gd name="connsiteY19" fmla="*/ 377414 h 421195"/>
                    <a:gd name="connsiteX20" fmla="*/ 336326 w 492446"/>
                    <a:gd name="connsiteY20" fmla="*/ 421195 h 421195"/>
                    <a:gd name="connsiteX21" fmla="*/ 492446 w 492446"/>
                    <a:gd name="connsiteY21" fmla="*/ 377414 h 421195"/>
                    <a:gd name="connsiteX22" fmla="*/ 336326 w 492446"/>
                    <a:gd name="connsiteY22" fmla="*/ 289081 h 421195"/>
                    <a:gd name="connsiteX23" fmla="*/ 368027 w 492446"/>
                    <a:gd name="connsiteY23" fmla="*/ 129113 h 421195"/>
                    <a:gd name="connsiteX24" fmla="*/ 372336 w 492446"/>
                    <a:gd name="connsiteY24" fmla="*/ 114878 h 421195"/>
                    <a:gd name="connsiteX25" fmla="*/ 336326 w 492446"/>
                    <a:gd name="connsiteY25" fmla="*/ 84870 h 421195"/>
                    <a:gd name="connsiteX26" fmla="*/ 300239 w 492446"/>
                    <a:gd name="connsiteY26" fmla="*/ 114878 h 421195"/>
                    <a:gd name="connsiteX27" fmla="*/ 304547 w 492446"/>
                    <a:gd name="connsiteY27" fmla="*/ 129113 h 421195"/>
                    <a:gd name="connsiteX28" fmla="*/ 267691 w 492446"/>
                    <a:gd name="connsiteY28" fmla="*/ 192977 h 421195"/>
                    <a:gd name="connsiteX29" fmla="*/ 336326 w 492446"/>
                    <a:gd name="connsiteY29" fmla="*/ 264998 h 421195"/>
                    <a:gd name="connsiteX30" fmla="*/ 404960 w 492446"/>
                    <a:gd name="connsiteY30" fmla="*/ 192977 h 421195"/>
                    <a:gd name="connsiteX31" fmla="*/ 368027 w 492446"/>
                    <a:gd name="connsiteY31" fmla="*/ 129113 h 421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492446" h="421195">
                      <a:moveTo>
                        <a:pt x="305932" y="274616"/>
                      </a:moveTo>
                      <a:cubicBezTo>
                        <a:pt x="305548" y="274616"/>
                        <a:pt x="305240" y="274616"/>
                        <a:pt x="304855" y="274693"/>
                      </a:cubicBezTo>
                      <a:cubicBezTo>
                        <a:pt x="304932" y="274539"/>
                        <a:pt x="305086" y="274385"/>
                        <a:pt x="305240" y="274308"/>
                      </a:cubicBezTo>
                      <a:cubicBezTo>
                        <a:pt x="305471" y="274385"/>
                        <a:pt x="305702" y="274462"/>
                        <a:pt x="305932" y="274616"/>
                      </a:cubicBezTo>
                      <a:close/>
                      <a:moveTo>
                        <a:pt x="156121" y="144194"/>
                      </a:moveTo>
                      <a:cubicBezTo>
                        <a:pt x="194055" y="144194"/>
                        <a:pt x="224756" y="111955"/>
                        <a:pt x="224756" y="72097"/>
                      </a:cubicBezTo>
                      <a:cubicBezTo>
                        <a:pt x="224756" y="32240"/>
                        <a:pt x="194055" y="0"/>
                        <a:pt x="156121" y="0"/>
                      </a:cubicBezTo>
                      <a:cubicBezTo>
                        <a:pt x="118187" y="0"/>
                        <a:pt x="87486" y="32240"/>
                        <a:pt x="87486" y="72097"/>
                      </a:cubicBezTo>
                      <a:cubicBezTo>
                        <a:pt x="87486" y="111955"/>
                        <a:pt x="118187" y="144194"/>
                        <a:pt x="156121" y="144194"/>
                      </a:cubicBezTo>
                      <a:close/>
                      <a:moveTo>
                        <a:pt x="252302" y="192977"/>
                      </a:moveTo>
                      <a:cubicBezTo>
                        <a:pt x="252302" y="188745"/>
                        <a:pt x="252610" y="184667"/>
                        <a:pt x="253225" y="180589"/>
                      </a:cubicBezTo>
                      <a:cubicBezTo>
                        <a:pt x="230604" y="173049"/>
                        <a:pt x="199364" y="168201"/>
                        <a:pt x="156121" y="168201"/>
                      </a:cubicBezTo>
                      <a:cubicBezTo>
                        <a:pt x="2386" y="168201"/>
                        <a:pt x="154" y="229526"/>
                        <a:pt x="0" y="256534"/>
                      </a:cubicBezTo>
                      <a:cubicBezTo>
                        <a:pt x="-154" y="293698"/>
                        <a:pt x="72559" y="300315"/>
                        <a:pt x="156121" y="300315"/>
                      </a:cubicBezTo>
                      <a:cubicBezTo>
                        <a:pt x="173664" y="300315"/>
                        <a:pt x="190592" y="300007"/>
                        <a:pt x="206597" y="299161"/>
                      </a:cubicBezTo>
                      <a:cubicBezTo>
                        <a:pt x="227526" y="286619"/>
                        <a:pt x="258688" y="277463"/>
                        <a:pt x="304855" y="274616"/>
                      </a:cubicBezTo>
                      <a:cubicBezTo>
                        <a:pt x="304932" y="274462"/>
                        <a:pt x="305086" y="274308"/>
                        <a:pt x="305240" y="274231"/>
                      </a:cubicBezTo>
                      <a:cubicBezTo>
                        <a:pt x="274231" y="261304"/>
                        <a:pt x="252302" y="229757"/>
                        <a:pt x="252302" y="192977"/>
                      </a:cubicBezTo>
                      <a:close/>
                      <a:moveTo>
                        <a:pt x="336326" y="289081"/>
                      </a:moveTo>
                      <a:cubicBezTo>
                        <a:pt x="182513" y="289081"/>
                        <a:pt x="180282" y="350406"/>
                        <a:pt x="180128" y="377414"/>
                      </a:cubicBezTo>
                      <a:cubicBezTo>
                        <a:pt x="179974" y="414578"/>
                        <a:pt x="252764" y="421195"/>
                        <a:pt x="336326" y="421195"/>
                      </a:cubicBezTo>
                      <a:cubicBezTo>
                        <a:pt x="419888" y="421195"/>
                        <a:pt x="492600" y="414578"/>
                        <a:pt x="492446" y="377414"/>
                      </a:cubicBezTo>
                      <a:cubicBezTo>
                        <a:pt x="492293" y="350406"/>
                        <a:pt x="490061" y="289081"/>
                        <a:pt x="336326" y="289081"/>
                      </a:cubicBezTo>
                      <a:close/>
                      <a:moveTo>
                        <a:pt x="368027" y="129113"/>
                      </a:moveTo>
                      <a:cubicBezTo>
                        <a:pt x="370797" y="124881"/>
                        <a:pt x="372336" y="120034"/>
                        <a:pt x="372336" y="114878"/>
                      </a:cubicBezTo>
                      <a:cubicBezTo>
                        <a:pt x="372336" y="98335"/>
                        <a:pt x="356177" y="84870"/>
                        <a:pt x="336326" y="84870"/>
                      </a:cubicBezTo>
                      <a:cubicBezTo>
                        <a:pt x="316474" y="84870"/>
                        <a:pt x="300239" y="98335"/>
                        <a:pt x="300239" y="114878"/>
                      </a:cubicBezTo>
                      <a:cubicBezTo>
                        <a:pt x="300239" y="120034"/>
                        <a:pt x="301854" y="124881"/>
                        <a:pt x="304547" y="129113"/>
                      </a:cubicBezTo>
                      <a:cubicBezTo>
                        <a:pt x="282618" y="141117"/>
                        <a:pt x="267691" y="165200"/>
                        <a:pt x="267691" y="192977"/>
                      </a:cubicBezTo>
                      <a:cubicBezTo>
                        <a:pt x="267691" y="232758"/>
                        <a:pt x="298392" y="264998"/>
                        <a:pt x="336326" y="264998"/>
                      </a:cubicBezTo>
                      <a:cubicBezTo>
                        <a:pt x="374259" y="264998"/>
                        <a:pt x="404960" y="232758"/>
                        <a:pt x="404960" y="192977"/>
                      </a:cubicBezTo>
                      <a:cubicBezTo>
                        <a:pt x="404960" y="165200"/>
                        <a:pt x="389956" y="141117"/>
                        <a:pt x="368027" y="12911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19050" cap="flat">
                  <a:solidFill>
                    <a:schemeClr val="accent4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28" name="Rechthoek 59">
                  <a:extLst>
                    <a:ext uri="{FF2B5EF4-FFF2-40B4-BE49-F238E27FC236}">
                      <a16:creationId xmlns:a16="http://schemas.microsoft.com/office/drawing/2014/main" id="{312E386B-0A4F-06B7-82FD-A1E774A96F18}"/>
                    </a:ext>
                  </a:extLst>
                </p:cNvPr>
                <p:cNvSpPr/>
                <p:nvPr/>
              </p:nvSpPr>
              <p:spPr>
                <a:xfrm rot="19800000">
                  <a:off x="6576622" y="5054872"/>
                  <a:ext cx="417867" cy="41496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sp>
              <p:nvSpPr>
                <p:cNvPr id="129" name="Rechthoek 59">
                  <a:extLst>
                    <a:ext uri="{FF2B5EF4-FFF2-40B4-BE49-F238E27FC236}">
                      <a16:creationId xmlns:a16="http://schemas.microsoft.com/office/drawing/2014/main" id="{4D0E9B92-0B8E-D590-AE16-223E1DD1E07F}"/>
                    </a:ext>
                  </a:extLst>
                </p:cNvPr>
                <p:cNvSpPr/>
                <p:nvPr/>
              </p:nvSpPr>
              <p:spPr>
                <a:xfrm rot="1800000" flipH="1">
                  <a:off x="6905810" y="5054872"/>
                  <a:ext cx="417867" cy="41496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968"/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2256A53F-AF9C-8915-82A8-201F9E7C8D75}"/>
                    </a:ext>
                  </a:extLst>
                </p:cNvPr>
                <p:cNvGrpSpPr/>
                <p:nvPr/>
              </p:nvGrpSpPr>
              <p:grpSpPr>
                <a:xfrm>
                  <a:off x="4808943" y="5425614"/>
                  <a:ext cx="266367" cy="254549"/>
                  <a:chOff x="4808943" y="5425614"/>
                  <a:chExt cx="266367" cy="254549"/>
                </a:xfrm>
              </p:grpSpPr>
              <p:grpSp>
                <p:nvGrpSpPr>
                  <p:cNvPr id="136" name="Graphic 132">
                    <a:extLst>
                      <a:ext uri="{FF2B5EF4-FFF2-40B4-BE49-F238E27FC236}">
                        <a16:creationId xmlns:a16="http://schemas.microsoft.com/office/drawing/2014/main" id="{29011B98-9E84-57AD-BFA8-09BAA389BC1E}"/>
                      </a:ext>
                    </a:extLst>
                  </p:cNvPr>
                  <p:cNvGrpSpPr/>
                  <p:nvPr/>
                </p:nvGrpSpPr>
                <p:grpSpPr>
                  <a:xfrm>
                    <a:off x="4808943" y="5425614"/>
                    <a:ext cx="159821" cy="254528"/>
                    <a:chOff x="3657600" y="5587416"/>
                    <a:chExt cx="175803" cy="279982"/>
                  </a:xfrm>
                  <a:solidFill>
                    <a:schemeClr val="bg1"/>
                  </a:solidFill>
                </p:grpSpPr>
                <p:grpSp>
                  <p:nvGrpSpPr>
                    <p:cNvPr id="137" name="Graphic 132">
                      <a:extLst>
                        <a:ext uri="{FF2B5EF4-FFF2-40B4-BE49-F238E27FC236}">
                          <a16:creationId xmlns:a16="http://schemas.microsoft.com/office/drawing/2014/main" id="{060C8EBB-DA68-2CB6-8261-B9E2B01311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703178" y="5756708"/>
                      <a:ext cx="84646" cy="110690"/>
                      <a:chOff x="3703178" y="5756708"/>
                      <a:chExt cx="84646" cy="110690"/>
                    </a:xfrm>
                    <a:grpFill/>
                  </p:grpSpPr>
                  <p:sp>
                    <p:nvSpPr>
                      <p:cNvPr id="138" name="Vrije vorm: vorm 137">
                        <a:extLst>
                          <a:ext uri="{FF2B5EF4-FFF2-40B4-BE49-F238E27FC236}">
                            <a16:creationId xmlns:a16="http://schemas.microsoft.com/office/drawing/2014/main" id="{4DE38D45-4D73-4E3D-12C4-07376AFC76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03178" y="5756708"/>
                        <a:ext cx="32556" cy="110690"/>
                      </a:xfrm>
                      <a:custGeom>
                        <a:avLst/>
                        <a:gdLst>
                          <a:gd name="connsiteX0" fmla="*/ 16278 w 32556"/>
                          <a:gd name="connsiteY0" fmla="*/ 110691 h 110690"/>
                          <a:gd name="connsiteX1" fmla="*/ 0 w 32556"/>
                          <a:gd name="connsiteY1" fmla="*/ 94413 h 110690"/>
                          <a:gd name="connsiteX2" fmla="*/ 0 w 32556"/>
                          <a:gd name="connsiteY2" fmla="*/ 16278 h 110690"/>
                          <a:gd name="connsiteX3" fmla="*/ 16278 w 32556"/>
                          <a:gd name="connsiteY3" fmla="*/ 0 h 110690"/>
                          <a:gd name="connsiteX4" fmla="*/ 32556 w 32556"/>
                          <a:gd name="connsiteY4" fmla="*/ 16278 h 110690"/>
                          <a:gd name="connsiteX5" fmla="*/ 32556 w 32556"/>
                          <a:gd name="connsiteY5" fmla="*/ 94413 h 110690"/>
                          <a:gd name="connsiteX6" fmla="*/ 16278 w 32556"/>
                          <a:gd name="connsiteY6" fmla="*/ 110691 h 1106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556" h="110690">
                            <a:moveTo>
                              <a:pt x="16278" y="110691"/>
                            </a:moveTo>
                            <a:cubicBezTo>
                              <a:pt x="7288" y="110691"/>
                              <a:pt x="0" y="103403"/>
                              <a:pt x="0" y="94413"/>
                            </a:cubicBezTo>
                            <a:lnTo>
                              <a:pt x="0" y="16278"/>
                            </a:lnTo>
                            <a:cubicBezTo>
                              <a:pt x="0" y="7288"/>
                              <a:pt x="7288" y="0"/>
                              <a:pt x="16278" y="0"/>
                            </a:cubicBezTo>
                            <a:cubicBezTo>
                              <a:pt x="25268" y="0"/>
                              <a:pt x="32556" y="7288"/>
                              <a:pt x="32556" y="16278"/>
                            </a:cubicBezTo>
                            <a:lnTo>
                              <a:pt x="32556" y="94413"/>
                            </a:lnTo>
                            <a:cubicBezTo>
                              <a:pt x="32556" y="103403"/>
                              <a:pt x="25268" y="110691"/>
                              <a:pt x="16278" y="110691"/>
                            </a:cubicBezTo>
                            <a:close/>
                          </a:path>
                        </a:pathLst>
                      </a:custGeom>
                      <a:grpFill/>
                      <a:ln w="651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 sz="2968">
                          <a:solidFill>
                            <a:schemeClr val="bg1"/>
                          </a:solidFill>
                        </a:endParaRPr>
                      </a:p>
                    </p:txBody>
                  </p:sp>
                  <p:sp>
                    <p:nvSpPr>
                      <p:cNvPr id="139" name="Vrije vorm: vorm 138">
                        <a:extLst>
                          <a:ext uri="{FF2B5EF4-FFF2-40B4-BE49-F238E27FC236}">
                            <a16:creationId xmlns:a16="http://schemas.microsoft.com/office/drawing/2014/main" id="{8AE2568A-DA49-5347-341B-CD198ABF28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55268" y="5756708"/>
                        <a:ext cx="32556" cy="110690"/>
                      </a:xfrm>
                      <a:custGeom>
                        <a:avLst/>
                        <a:gdLst>
                          <a:gd name="connsiteX0" fmla="*/ 16278 w 32556"/>
                          <a:gd name="connsiteY0" fmla="*/ 110691 h 110690"/>
                          <a:gd name="connsiteX1" fmla="*/ 0 w 32556"/>
                          <a:gd name="connsiteY1" fmla="*/ 94413 h 110690"/>
                          <a:gd name="connsiteX2" fmla="*/ 0 w 32556"/>
                          <a:gd name="connsiteY2" fmla="*/ 16278 h 110690"/>
                          <a:gd name="connsiteX3" fmla="*/ 16278 w 32556"/>
                          <a:gd name="connsiteY3" fmla="*/ 0 h 110690"/>
                          <a:gd name="connsiteX4" fmla="*/ 32556 w 32556"/>
                          <a:gd name="connsiteY4" fmla="*/ 16278 h 110690"/>
                          <a:gd name="connsiteX5" fmla="*/ 32556 w 32556"/>
                          <a:gd name="connsiteY5" fmla="*/ 94413 h 110690"/>
                          <a:gd name="connsiteX6" fmla="*/ 16278 w 32556"/>
                          <a:gd name="connsiteY6" fmla="*/ 110691 h 1106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32556" h="110690">
                            <a:moveTo>
                              <a:pt x="16278" y="110691"/>
                            </a:moveTo>
                            <a:cubicBezTo>
                              <a:pt x="7288" y="110691"/>
                              <a:pt x="0" y="103403"/>
                              <a:pt x="0" y="94413"/>
                            </a:cubicBezTo>
                            <a:lnTo>
                              <a:pt x="0" y="16278"/>
                            </a:lnTo>
                            <a:cubicBezTo>
                              <a:pt x="0" y="7288"/>
                              <a:pt x="7288" y="0"/>
                              <a:pt x="16278" y="0"/>
                            </a:cubicBezTo>
                            <a:cubicBezTo>
                              <a:pt x="25268" y="0"/>
                              <a:pt x="32556" y="7288"/>
                              <a:pt x="32556" y="16278"/>
                            </a:cubicBezTo>
                            <a:lnTo>
                              <a:pt x="32556" y="94413"/>
                            </a:lnTo>
                            <a:cubicBezTo>
                              <a:pt x="32556" y="103403"/>
                              <a:pt x="25268" y="110691"/>
                              <a:pt x="16278" y="110691"/>
                            </a:cubicBezTo>
                            <a:close/>
                          </a:path>
                        </a:pathLst>
                      </a:custGeom>
                      <a:grpFill/>
                      <a:ln w="651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 sz="2968">
                          <a:solidFill>
                            <a:schemeClr val="bg1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40" name="Graphic 132">
                      <a:extLst>
                        <a:ext uri="{FF2B5EF4-FFF2-40B4-BE49-F238E27FC236}">
                          <a16:creationId xmlns:a16="http://schemas.microsoft.com/office/drawing/2014/main" id="{0328776C-A069-FD29-3ED7-32FCD5CC96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57600" y="5587416"/>
                      <a:ext cx="175803" cy="206994"/>
                      <a:chOff x="3657600" y="5587416"/>
                      <a:chExt cx="175803" cy="206994"/>
                    </a:xfrm>
                    <a:grpFill/>
                  </p:grpSpPr>
                  <p:sp>
                    <p:nvSpPr>
                      <p:cNvPr id="141" name="Vrije vorm: vorm 140">
                        <a:extLst>
                          <a:ext uri="{FF2B5EF4-FFF2-40B4-BE49-F238E27FC236}">
                            <a16:creationId xmlns:a16="http://schemas.microsoft.com/office/drawing/2014/main" id="{EB641D33-CC87-0F1E-F20E-646C4A0A86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657600" y="5654225"/>
                        <a:ext cx="175803" cy="140185"/>
                      </a:xfrm>
                      <a:custGeom>
                        <a:avLst/>
                        <a:gdLst>
                          <a:gd name="connsiteX0" fmla="*/ 160542 w 175803"/>
                          <a:gd name="connsiteY0" fmla="*/ 12970 h 140185"/>
                          <a:gd name="connsiteX1" fmla="*/ 144700 w 175803"/>
                          <a:gd name="connsiteY1" fmla="*/ 0 h 140185"/>
                          <a:gd name="connsiteX2" fmla="*/ 87902 w 175803"/>
                          <a:gd name="connsiteY2" fmla="*/ 37371 h 140185"/>
                          <a:gd name="connsiteX3" fmla="*/ 31103 w 175803"/>
                          <a:gd name="connsiteY3" fmla="*/ 0 h 140185"/>
                          <a:gd name="connsiteX4" fmla="*/ 15262 w 175803"/>
                          <a:gd name="connsiteY4" fmla="*/ 12970 h 140185"/>
                          <a:gd name="connsiteX5" fmla="*/ 0 w 175803"/>
                          <a:gd name="connsiteY5" fmla="*/ 53649 h 140185"/>
                          <a:gd name="connsiteX6" fmla="*/ 0 w 175803"/>
                          <a:gd name="connsiteY6" fmla="*/ 105738 h 140185"/>
                          <a:gd name="connsiteX7" fmla="*/ 26045 w 175803"/>
                          <a:gd name="connsiteY7" fmla="*/ 140185 h 140185"/>
                          <a:gd name="connsiteX8" fmla="*/ 26045 w 175803"/>
                          <a:gd name="connsiteY8" fmla="*/ 60160 h 140185"/>
                          <a:gd name="connsiteX9" fmla="*/ 35812 w 175803"/>
                          <a:gd name="connsiteY9" fmla="*/ 50393 h 140185"/>
                          <a:gd name="connsiteX10" fmla="*/ 45579 w 175803"/>
                          <a:gd name="connsiteY10" fmla="*/ 60160 h 140185"/>
                          <a:gd name="connsiteX11" fmla="*/ 45579 w 175803"/>
                          <a:gd name="connsiteY11" fmla="*/ 86879 h 140185"/>
                          <a:gd name="connsiteX12" fmla="*/ 61857 w 175803"/>
                          <a:gd name="connsiteY12" fmla="*/ 82949 h 140185"/>
                          <a:gd name="connsiteX13" fmla="*/ 87902 w 175803"/>
                          <a:gd name="connsiteY13" fmla="*/ 94220 h 140185"/>
                          <a:gd name="connsiteX14" fmla="*/ 113947 w 175803"/>
                          <a:gd name="connsiteY14" fmla="*/ 82949 h 140185"/>
                          <a:gd name="connsiteX15" fmla="*/ 130225 w 175803"/>
                          <a:gd name="connsiteY15" fmla="*/ 86879 h 140185"/>
                          <a:gd name="connsiteX16" fmla="*/ 130225 w 175803"/>
                          <a:gd name="connsiteY16" fmla="*/ 60160 h 140185"/>
                          <a:gd name="connsiteX17" fmla="*/ 139991 w 175803"/>
                          <a:gd name="connsiteY17" fmla="*/ 50393 h 140185"/>
                          <a:gd name="connsiteX18" fmla="*/ 149758 w 175803"/>
                          <a:gd name="connsiteY18" fmla="*/ 60160 h 140185"/>
                          <a:gd name="connsiteX19" fmla="*/ 149758 w 175803"/>
                          <a:gd name="connsiteY19" fmla="*/ 140185 h 140185"/>
                          <a:gd name="connsiteX20" fmla="*/ 175803 w 175803"/>
                          <a:gd name="connsiteY20" fmla="*/ 105738 h 140185"/>
                          <a:gd name="connsiteX21" fmla="*/ 175803 w 175803"/>
                          <a:gd name="connsiteY21" fmla="*/ 53649 h 140185"/>
                          <a:gd name="connsiteX22" fmla="*/ 160542 w 175803"/>
                          <a:gd name="connsiteY22" fmla="*/ 12970 h 14018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</a:cxnLst>
                        <a:rect l="l" t="t" r="r" b="b"/>
                        <a:pathLst>
                          <a:path w="175803" h="140185">
                            <a:moveTo>
                              <a:pt x="160542" y="12970"/>
                            </a:moveTo>
                            <a:cubicBezTo>
                              <a:pt x="155981" y="7752"/>
                              <a:pt x="150611" y="3392"/>
                              <a:pt x="144700" y="0"/>
                            </a:cubicBezTo>
                            <a:cubicBezTo>
                              <a:pt x="135196" y="21963"/>
                              <a:pt x="113316" y="37371"/>
                              <a:pt x="87902" y="37371"/>
                            </a:cubicBezTo>
                            <a:cubicBezTo>
                              <a:pt x="62488" y="37371"/>
                              <a:pt x="40607" y="21963"/>
                              <a:pt x="31103" y="0"/>
                            </a:cubicBezTo>
                            <a:cubicBezTo>
                              <a:pt x="25192" y="3392"/>
                              <a:pt x="19822" y="7752"/>
                              <a:pt x="15262" y="12970"/>
                            </a:cubicBezTo>
                            <a:cubicBezTo>
                              <a:pt x="5420" y="24231"/>
                              <a:pt x="0" y="38678"/>
                              <a:pt x="0" y="53649"/>
                            </a:cubicBezTo>
                            <a:lnTo>
                              <a:pt x="0" y="105738"/>
                            </a:lnTo>
                            <a:cubicBezTo>
                              <a:pt x="0" y="122099"/>
                              <a:pt x="11032" y="135922"/>
                              <a:pt x="26045" y="140185"/>
                            </a:cubicBezTo>
                            <a:lnTo>
                              <a:pt x="26045" y="60160"/>
                            </a:lnTo>
                            <a:cubicBezTo>
                              <a:pt x="26045" y="54766"/>
                              <a:pt x="30418" y="50393"/>
                              <a:pt x="35812" y="50393"/>
                            </a:cubicBezTo>
                            <a:cubicBezTo>
                              <a:pt x="41206" y="50393"/>
                              <a:pt x="45579" y="54766"/>
                              <a:pt x="45579" y="60160"/>
                            </a:cubicBezTo>
                            <a:lnTo>
                              <a:pt x="45579" y="86879"/>
                            </a:lnTo>
                            <a:cubicBezTo>
                              <a:pt x="50467" y="84373"/>
                              <a:pt x="55997" y="82949"/>
                              <a:pt x="61857" y="82949"/>
                            </a:cubicBezTo>
                            <a:cubicBezTo>
                              <a:pt x="72112" y="82949"/>
                              <a:pt x="81367" y="87289"/>
                              <a:pt x="87902" y="94220"/>
                            </a:cubicBezTo>
                            <a:cubicBezTo>
                              <a:pt x="94436" y="87289"/>
                              <a:pt x="103691" y="82949"/>
                              <a:pt x="113947" y="82949"/>
                            </a:cubicBezTo>
                            <a:cubicBezTo>
                              <a:pt x="119807" y="82949"/>
                              <a:pt x="125337" y="84373"/>
                              <a:pt x="130225" y="86879"/>
                            </a:cubicBezTo>
                            <a:lnTo>
                              <a:pt x="130225" y="60160"/>
                            </a:lnTo>
                            <a:cubicBezTo>
                              <a:pt x="130225" y="54766"/>
                              <a:pt x="134598" y="50393"/>
                              <a:pt x="139991" y="50393"/>
                            </a:cubicBezTo>
                            <a:cubicBezTo>
                              <a:pt x="145385" y="50393"/>
                              <a:pt x="149758" y="54766"/>
                              <a:pt x="149758" y="60160"/>
                            </a:cubicBezTo>
                            <a:lnTo>
                              <a:pt x="149758" y="140185"/>
                            </a:lnTo>
                            <a:cubicBezTo>
                              <a:pt x="164771" y="135923"/>
                              <a:pt x="175803" y="122099"/>
                              <a:pt x="175803" y="105738"/>
                            </a:cubicBezTo>
                            <a:lnTo>
                              <a:pt x="175803" y="53649"/>
                            </a:lnTo>
                            <a:cubicBezTo>
                              <a:pt x="175803" y="38678"/>
                              <a:pt x="170383" y="24231"/>
                              <a:pt x="160542" y="12970"/>
                            </a:cubicBezTo>
                            <a:close/>
                          </a:path>
                        </a:pathLst>
                      </a:custGeom>
                      <a:grpFill/>
                      <a:ln w="651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 sz="2968">
                          <a:solidFill>
                            <a:schemeClr val="bg1"/>
                          </a:solidFill>
                        </a:endParaRPr>
                      </a:p>
                    </p:txBody>
                  </p:sp>
                  <p:sp>
                    <p:nvSpPr>
                      <p:cNvPr id="142" name="Vrije vorm: vorm 141">
                        <a:extLst>
                          <a:ext uri="{FF2B5EF4-FFF2-40B4-BE49-F238E27FC236}">
                            <a16:creationId xmlns:a16="http://schemas.microsoft.com/office/drawing/2014/main" id="{B1D5C282-8C9A-8EB5-3E2F-3ABB9EBEFD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703178" y="5587416"/>
                        <a:ext cx="84645" cy="84645"/>
                      </a:xfrm>
                      <a:custGeom>
                        <a:avLst/>
                        <a:gdLst>
                          <a:gd name="connsiteX0" fmla="*/ 42323 w 84645"/>
                          <a:gd name="connsiteY0" fmla="*/ 84646 h 84645"/>
                          <a:gd name="connsiteX1" fmla="*/ 0 w 84645"/>
                          <a:gd name="connsiteY1" fmla="*/ 42323 h 84645"/>
                          <a:gd name="connsiteX2" fmla="*/ 42323 w 84645"/>
                          <a:gd name="connsiteY2" fmla="*/ 0 h 84645"/>
                          <a:gd name="connsiteX3" fmla="*/ 84646 w 84645"/>
                          <a:gd name="connsiteY3" fmla="*/ 42323 h 84645"/>
                          <a:gd name="connsiteX4" fmla="*/ 42323 w 84645"/>
                          <a:gd name="connsiteY4" fmla="*/ 84646 h 8464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84645" h="84645">
                            <a:moveTo>
                              <a:pt x="42323" y="84646"/>
                            </a:moveTo>
                            <a:cubicBezTo>
                              <a:pt x="18986" y="84646"/>
                              <a:pt x="0" y="65660"/>
                              <a:pt x="0" y="42323"/>
                            </a:cubicBezTo>
                            <a:cubicBezTo>
                              <a:pt x="0" y="18986"/>
                              <a:pt x="18986" y="0"/>
                              <a:pt x="42323" y="0"/>
                            </a:cubicBezTo>
                            <a:cubicBezTo>
                              <a:pt x="65660" y="0"/>
                              <a:pt x="84646" y="18986"/>
                              <a:pt x="84646" y="42323"/>
                            </a:cubicBezTo>
                            <a:cubicBezTo>
                              <a:pt x="84646" y="65660"/>
                              <a:pt x="65660" y="84646"/>
                              <a:pt x="42323" y="84646"/>
                            </a:cubicBezTo>
                            <a:close/>
                          </a:path>
                        </a:pathLst>
                      </a:custGeom>
                      <a:grpFill/>
                      <a:ln w="651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GB" sz="2968">
                          <a:solidFill>
                            <a:schemeClr val="bg1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143" name="Vrije vorm: vorm 142">
                    <a:extLst>
                      <a:ext uri="{FF2B5EF4-FFF2-40B4-BE49-F238E27FC236}">
                        <a16:creationId xmlns:a16="http://schemas.microsoft.com/office/drawing/2014/main" id="{31230C4C-2209-9910-7179-4E261C6C3FF7}"/>
                      </a:ext>
                    </a:extLst>
                  </p:cNvPr>
                  <p:cNvSpPr/>
                  <p:nvPr/>
                </p:nvSpPr>
                <p:spPr>
                  <a:xfrm>
                    <a:off x="4974683" y="5620970"/>
                    <a:ext cx="100627" cy="59193"/>
                  </a:xfrm>
                  <a:custGeom>
                    <a:avLst/>
                    <a:gdLst>
                      <a:gd name="connsiteX0" fmla="*/ 55345 w 110690"/>
                      <a:gd name="connsiteY0" fmla="*/ 65112 h 65112"/>
                      <a:gd name="connsiteX1" fmla="*/ 0 w 110690"/>
                      <a:gd name="connsiteY1" fmla="*/ 9767 h 65112"/>
                      <a:gd name="connsiteX2" fmla="*/ 9767 w 110690"/>
                      <a:gd name="connsiteY2" fmla="*/ 0 h 65112"/>
                      <a:gd name="connsiteX3" fmla="*/ 100924 w 110690"/>
                      <a:gd name="connsiteY3" fmla="*/ 0 h 65112"/>
                      <a:gd name="connsiteX4" fmla="*/ 110691 w 110690"/>
                      <a:gd name="connsiteY4" fmla="*/ 9767 h 65112"/>
                      <a:gd name="connsiteX5" fmla="*/ 55345 w 110690"/>
                      <a:gd name="connsiteY5" fmla="*/ 65112 h 651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10690" h="65112">
                        <a:moveTo>
                          <a:pt x="55345" y="65112"/>
                        </a:moveTo>
                        <a:cubicBezTo>
                          <a:pt x="24828" y="65112"/>
                          <a:pt x="0" y="40284"/>
                          <a:pt x="0" y="9767"/>
                        </a:cubicBezTo>
                        <a:cubicBezTo>
                          <a:pt x="0" y="4373"/>
                          <a:pt x="4373" y="0"/>
                          <a:pt x="9767" y="0"/>
                        </a:cubicBezTo>
                        <a:lnTo>
                          <a:pt x="100924" y="0"/>
                        </a:lnTo>
                        <a:cubicBezTo>
                          <a:pt x="106318" y="0"/>
                          <a:pt x="110691" y="4373"/>
                          <a:pt x="110691" y="9767"/>
                        </a:cubicBezTo>
                        <a:cubicBezTo>
                          <a:pt x="110691" y="40284"/>
                          <a:pt x="85863" y="65112"/>
                          <a:pt x="55345" y="6511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 sz="2968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44" name="Vrije vorm: vorm 143">
                  <a:extLst>
                    <a:ext uri="{FF2B5EF4-FFF2-40B4-BE49-F238E27FC236}">
                      <a16:creationId xmlns:a16="http://schemas.microsoft.com/office/drawing/2014/main" id="{9F0DB77A-659D-3FB8-1CA3-FA12F966CFF9}"/>
                    </a:ext>
                  </a:extLst>
                </p:cNvPr>
                <p:cNvSpPr/>
                <p:nvPr/>
              </p:nvSpPr>
              <p:spPr>
                <a:xfrm>
                  <a:off x="5005939" y="5419006"/>
                  <a:ext cx="147982" cy="147982"/>
                </a:xfrm>
                <a:custGeom>
                  <a:avLst/>
                  <a:gdLst>
                    <a:gd name="connsiteX0" fmla="*/ 81390 w 162780"/>
                    <a:gd name="connsiteY0" fmla="*/ 0 h 162780"/>
                    <a:gd name="connsiteX1" fmla="*/ 0 w 162780"/>
                    <a:gd name="connsiteY1" fmla="*/ 81390 h 162780"/>
                    <a:gd name="connsiteX2" fmla="*/ 81390 w 162780"/>
                    <a:gd name="connsiteY2" fmla="*/ 162781 h 162780"/>
                    <a:gd name="connsiteX3" fmla="*/ 162781 w 162780"/>
                    <a:gd name="connsiteY3" fmla="*/ 81390 h 162780"/>
                    <a:gd name="connsiteX4" fmla="*/ 81390 w 162780"/>
                    <a:gd name="connsiteY4" fmla="*/ 0 h 162780"/>
                    <a:gd name="connsiteX5" fmla="*/ 39067 w 162780"/>
                    <a:gd name="connsiteY5" fmla="*/ 58601 h 162780"/>
                    <a:gd name="connsiteX6" fmla="*/ 48834 w 162780"/>
                    <a:gd name="connsiteY6" fmla="*/ 48834 h 162780"/>
                    <a:gd name="connsiteX7" fmla="*/ 58601 w 162780"/>
                    <a:gd name="connsiteY7" fmla="*/ 58601 h 162780"/>
                    <a:gd name="connsiteX8" fmla="*/ 48834 w 162780"/>
                    <a:gd name="connsiteY8" fmla="*/ 68368 h 162780"/>
                    <a:gd name="connsiteX9" fmla="*/ 39067 w 162780"/>
                    <a:gd name="connsiteY9" fmla="*/ 58601 h 162780"/>
                    <a:gd name="connsiteX10" fmla="*/ 109912 w 162780"/>
                    <a:gd name="connsiteY10" fmla="*/ 125110 h 162780"/>
                    <a:gd name="connsiteX11" fmla="*/ 96272 w 162780"/>
                    <a:gd name="connsiteY11" fmla="*/ 122935 h 162780"/>
                    <a:gd name="connsiteX12" fmla="*/ 81390 w 162780"/>
                    <a:gd name="connsiteY12" fmla="*/ 113947 h 162780"/>
                    <a:gd name="connsiteX13" fmla="*/ 66509 w 162780"/>
                    <a:gd name="connsiteY13" fmla="*/ 122935 h 162780"/>
                    <a:gd name="connsiteX14" fmla="*/ 52869 w 162780"/>
                    <a:gd name="connsiteY14" fmla="*/ 125110 h 162780"/>
                    <a:gd name="connsiteX15" fmla="*/ 50694 w 162780"/>
                    <a:gd name="connsiteY15" fmla="*/ 111470 h 162780"/>
                    <a:gd name="connsiteX16" fmla="*/ 81390 w 162780"/>
                    <a:gd name="connsiteY16" fmla="*/ 94413 h 162780"/>
                    <a:gd name="connsiteX17" fmla="*/ 112088 w 162780"/>
                    <a:gd name="connsiteY17" fmla="*/ 111470 h 162780"/>
                    <a:gd name="connsiteX18" fmla="*/ 109912 w 162780"/>
                    <a:gd name="connsiteY18" fmla="*/ 125110 h 162780"/>
                    <a:gd name="connsiteX19" fmla="*/ 113947 w 162780"/>
                    <a:gd name="connsiteY19" fmla="*/ 68368 h 162780"/>
                    <a:gd name="connsiteX20" fmla="*/ 104180 w 162780"/>
                    <a:gd name="connsiteY20" fmla="*/ 58601 h 162780"/>
                    <a:gd name="connsiteX21" fmla="*/ 113947 w 162780"/>
                    <a:gd name="connsiteY21" fmla="*/ 48834 h 162780"/>
                    <a:gd name="connsiteX22" fmla="*/ 123713 w 162780"/>
                    <a:gd name="connsiteY22" fmla="*/ 58601 h 162780"/>
                    <a:gd name="connsiteX23" fmla="*/ 113947 w 162780"/>
                    <a:gd name="connsiteY23" fmla="*/ 68368 h 1627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162780" h="162780">
                      <a:moveTo>
                        <a:pt x="81390" y="0"/>
                      </a:moveTo>
                      <a:cubicBezTo>
                        <a:pt x="36512" y="0"/>
                        <a:pt x="0" y="36512"/>
                        <a:pt x="0" y="81390"/>
                      </a:cubicBezTo>
                      <a:cubicBezTo>
                        <a:pt x="0" y="126269"/>
                        <a:pt x="36512" y="162781"/>
                        <a:pt x="81390" y="162781"/>
                      </a:cubicBezTo>
                      <a:cubicBezTo>
                        <a:pt x="126269" y="162781"/>
                        <a:pt x="162781" y="126269"/>
                        <a:pt x="162781" y="81390"/>
                      </a:cubicBezTo>
                      <a:cubicBezTo>
                        <a:pt x="162781" y="36512"/>
                        <a:pt x="126269" y="0"/>
                        <a:pt x="81390" y="0"/>
                      </a:cubicBezTo>
                      <a:close/>
                      <a:moveTo>
                        <a:pt x="39067" y="58601"/>
                      </a:moveTo>
                      <a:cubicBezTo>
                        <a:pt x="39067" y="53207"/>
                        <a:pt x="43440" y="48834"/>
                        <a:pt x="48834" y="48834"/>
                      </a:cubicBezTo>
                      <a:cubicBezTo>
                        <a:pt x="54228" y="48834"/>
                        <a:pt x="58601" y="53207"/>
                        <a:pt x="58601" y="58601"/>
                      </a:cubicBezTo>
                      <a:cubicBezTo>
                        <a:pt x="58601" y="63995"/>
                        <a:pt x="54228" y="68368"/>
                        <a:pt x="48834" y="68368"/>
                      </a:cubicBezTo>
                      <a:cubicBezTo>
                        <a:pt x="43440" y="68368"/>
                        <a:pt x="39067" y="63995"/>
                        <a:pt x="39067" y="58601"/>
                      </a:cubicBezTo>
                      <a:close/>
                      <a:moveTo>
                        <a:pt x="109912" y="125110"/>
                      </a:moveTo>
                      <a:cubicBezTo>
                        <a:pt x="105544" y="128276"/>
                        <a:pt x="99438" y="127302"/>
                        <a:pt x="96272" y="122935"/>
                      </a:cubicBezTo>
                      <a:cubicBezTo>
                        <a:pt x="92070" y="117138"/>
                        <a:pt x="86786" y="113947"/>
                        <a:pt x="81390" y="113947"/>
                      </a:cubicBezTo>
                      <a:cubicBezTo>
                        <a:pt x="75995" y="113947"/>
                        <a:pt x="70711" y="117138"/>
                        <a:pt x="66509" y="122935"/>
                      </a:cubicBezTo>
                      <a:cubicBezTo>
                        <a:pt x="63344" y="127302"/>
                        <a:pt x="57237" y="128276"/>
                        <a:pt x="52869" y="125110"/>
                      </a:cubicBezTo>
                      <a:cubicBezTo>
                        <a:pt x="48502" y="121944"/>
                        <a:pt x="47528" y="115837"/>
                        <a:pt x="50694" y="111470"/>
                      </a:cubicBezTo>
                      <a:cubicBezTo>
                        <a:pt x="58551" y="100630"/>
                        <a:pt x="69739" y="94413"/>
                        <a:pt x="81390" y="94413"/>
                      </a:cubicBezTo>
                      <a:cubicBezTo>
                        <a:pt x="93042" y="94413"/>
                        <a:pt x="104230" y="100630"/>
                        <a:pt x="112088" y="111470"/>
                      </a:cubicBezTo>
                      <a:cubicBezTo>
                        <a:pt x="115253" y="115837"/>
                        <a:pt x="114279" y="121944"/>
                        <a:pt x="109912" y="125110"/>
                      </a:cubicBezTo>
                      <a:close/>
                      <a:moveTo>
                        <a:pt x="113947" y="68368"/>
                      </a:moveTo>
                      <a:cubicBezTo>
                        <a:pt x="108553" y="68368"/>
                        <a:pt x="104180" y="63995"/>
                        <a:pt x="104180" y="58601"/>
                      </a:cubicBezTo>
                      <a:cubicBezTo>
                        <a:pt x="104180" y="53207"/>
                        <a:pt x="108553" y="48834"/>
                        <a:pt x="113947" y="48834"/>
                      </a:cubicBezTo>
                      <a:cubicBezTo>
                        <a:pt x="119340" y="48834"/>
                        <a:pt x="123713" y="53207"/>
                        <a:pt x="123713" y="58601"/>
                      </a:cubicBezTo>
                      <a:cubicBezTo>
                        <a:pt x="123713" y="63995"/>
                        <a:pt x="119340" y="68368"/>
                        <a:pt x="113947" y="6836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6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145" name="Graphic 144">
                  <a:extLst>
                    <a:ext uri="{FF2B5EF4-FFF2-40B4-BE49-F238E27FC236}">
                      <a16:creationId xmlns:a16="http://schemas.microsoft.com/office/drawing/2014/main" id="{DB81ACC4-559A-B694-A825-F1A651883C9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60059" y="4155637"/>
                  <a:ext cx="485895" cy="485895"/>
                </a:xfrm>
                <a:prstGeom prst="rect">
                  <a:avLst/>
                </a:prstGeom>
              </p:spPr>
            </p:pic>
            <p:pic>
              <p:nvPicPr>
                <p:cNvPr id="146" name="Graphic 145">
                  <a:extLst>
                    <a:ext uri="{FF2B5EF4-FFF2-40B4-BE49-F238E27FC236}">
                      <a16:creationId xmlns:a16="http://schemas.microsoft.com/office/drawing/2014/main" id="{47C176E3-9A6E-4EFA-E0A9-B1CEC5CD19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49450" y="5147118"/>
                  <a:ext cx="507112" cy="507112"/>
                </a:xfrm>
                <a:prstGeom prst="rect">
                  <a:avLst/>
                </a:prstGeom>
              </p:spPr>
            </p:pic>
            <p:pic>
              <p:nvPicPr>
                <p:cNvPr id="147" name="Graphic 146">
                  <a:extLst>
                    <a:ext uri="{FF2B5EF4-FFF2-40B4-BE49-F238E27FC236}">
                      <a16:creationId xmlns:a16="http://schemas.microsoft.com/office/drawing/2014/main" id="{6990044B-E3EC-612E-FC47-666BCFD5E0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17039" y="5162689"/>
                  <a:ext cx="475970" cy="475970"/>
                </a:xfrm>
                <a:prstGeom prst="rect">
                  <a:avLst/>
                </a:prstGeom>
              </p:spPr>
            </p:pic>
            <p:pic>
              <p:nvPicPr>
                <p:cNvPr id="149" name="Graphic 148">
                  <a:extLst>
                    <a:ext uri="{FF2B5EF4-FFF2-40B4-BE49-F238E27FC236}">
                      <a16:creationId xmlns:a16="http://schemas.microsoft.com/office/drawing/2014/main" id="{1E67652B-B840-BE55-8C1B-4223B11610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54999" y="4198559"/>
                  <a:ext cx="400050" cy="400050"/>
                </a:xfrm>
                <a:prstGeom prst="rect">
                  <a:avLst/>
                </a:prstGeom>
              </p:spPr>
            </p:pic>
            <p:pic>
              <p:nvPicPr>
                <p:cNvPr id="151" name="Graphic 150">
                  <a:extLst>
                    <a:ext uri="{FF2B5EF4-FFF2-40B4-BE49-F238E27FC236}">
                      <a16:creationId xmlns:a16="http://schemas.microsoft.com/office/drawing/2014/main" id="{3188AC11-E8FD-D1DB-33C0-BD31656D10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54999" y="4685755"/>
                  <a:ext cx="400050" cy="400050"/>
                </a:xfrm>
                <a:prstGeom prst="rect">
                  <a:avLst/>
                </a:prstGeom>
              </p:spPr>
            </p:pic>
            <p:pic>
              <p:nvPicPr>
                <p:cNvPr id="153" name="Graphic 152">
                  <a:extLst>
                    <a:ext uri="{FF2B5EF4-FFF2-40B4-BE49-F238E27FC236}">
                      <a16:creationId xmlns:a16="http://schemas.microsoft.com/office/drawing/2014/main" id="{C3BE5E43-D6FC-F495-F67D-7C2EF66A8B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98695" y="4681469"/>
                  <a:ext cx="408623" cy="408623"/>
                </a:xfrm>
                <a:prstGeom prst="rect">
                  <a:avLst/>
                </a:prstGeom>
              </p:spPr>
            </p:pic>
            <p:pic>
              <p:nvPicPr>
                <p:cNvPr id="154" name="Graphic 153">
                  <a:extLst>
                    <a:ext uri="{FF2B5EF4-FFF2-40B4-BE49-F238E27FC236}">
                      <a16:creationId xmlns:a16="http://schemas.microsoft.com/office/drawing/2014/main" id="{4C9BF503-83D8-CB24-6584-AFA2C90A301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72493" y="3843816"/>
                  <a:ext cx="647700" cy="647700"/>
                </a:xfrm>
                <a:prstGeom prst="rect">
                  <a:avLst/>
                </a:prstGeom>
              </p:spPr>
            </p:pic>
            <p:pic>
              <p:nvPicPr>
                <p:cNvPr id="155" name="Graphic 154">
                  <a:extLst>
                    <a:ext uri="{FF2B5EF4-FFF2-40B4-BE49-F238E27FC236}">
                      <a16:creationId xmlns:a16="http://schemas.microsoft.com/office/drawing/2014/main" id="{EB1A2CD7-3CC9-325E-5308-C6EAD9B8CC9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72493" y="4519617"/>
                  <a:ext cx="647700" cy="647700"/>
                </a:xfrm>
                <a:prstGeom prst="rect">
                  <a:avLst/>
                </a:prstGeom>
              </p:spPr>
            </p:pic>
            <p:sp>
              <p:nvSpPr>
                <p:cNvPr id="160" name="Vrije vorm: vorm 159">
                  <a:extLst>
                    <a:ext uri="{FF2B5EF4-FFF2-40B4-BE49-F238E27FC236}">
                      <a16:creationId xmlns:a16="http://schemas.microsoft.com/office/drawing/2014/main" id="{38DA2548-EAC3-C1EF-284C-E671A9ABDE80}"/>
                    </a:ext>
                  </a:extLst>
                </p:cNvPr>
                <p:cNvSpPr/>
                <p:nvPr/>
              </p:nvSpPr>
              <p:spPr>
                <a:xfrm>
                  <a:off x="10651913" y="3366135"/>
                  <a:ext cx="288860" cy="277807"/>
                </a:xfrm>
                <a:custGeom>
                  <a:avLst/>
                  <a:gdLst>
                    <a:gd name="connsiteX0" fmla="*/ 517327 w 2000414"/>
                    <a:gd name="connsiteY0" fmla="*/ 1923869 h 1923869"/>
                    <a:gd name="connsiteX1" fmla="*/ 388768 w 2000414"/>
                    <a:gd name="connsiteY1" fmla="*/ 1881797 h 1923869"/>
                    <a:gd name="connsiteX2" fmla="*/ 301624 w 2000414"/>
                    <a:gd name="connsiteY2" fmla="*/ 1667542 h 1923869"/>
                    <a:gd name="connsiteX3" fmla="*/ 374338 w 2000414"/>
                    <a:gd name="connsiteY3" fmla="*/ 1243584 h 1923869"/>
                    <a:gd name="connsiteX4" fmla="*/ 66318 w 2000414"/>
                    <a:gd name="connsiteY4" fmla="*/ 943337 h 1923869"/>
                    <a:gd name="connsiteX5" fmla="*/ 10883 w 2000414"/>
                    <a:gd name="connsiteY5" fmla="*/ 718785 h 1923869"/>
                    <a:gd name="connsiteX6" fmla="*/ 187724 w 2000414"/>
                    <a:gd name="connsiteY6" fmla="*/ 569700 h 1923869"/>
                    <a:gd name="connsiteX7" fmla="*/ 613396 w 2000414"/>
                    <a:gd name="connsiteY7" fmla="*/ 507844 h 1923869"/>
                    <a:gd name="connsiteX8" fmla="*/ 803763 w 2000414"/>
                    <a:gd name="connsiteY8" fmla="*/ 122120 h 1923869"/>
                    <a:gd name="connsiteX9" fmla="*/ 1000207 w 2000414"/>
                    <a:gd name="connsiteY9" fmla="*/ 0 h 1923869"/>
                    <a:gd name="connsiteX10" fmla="*/ 1196650 w 2000414"/>
                    <a:gd name="connsiteY10" fmla="*/ 122111 h 1923869"/>
                    <a:gd name="connsiteX11" fmla="*/ 1387017 w 2000414"/>
                    <a:gd name="connsiteY11" fmla="*/ 507835 h 1923869"/>
                    <a:gd name="connsiteX12" fmla="*/ 1812699 w 2000414"/>
                    <a:gd name="connsiteY12" fmla="*/ 569690 h 1923869"/>
                    <a:gd name="connsiteX13" fmla="*/ 1989530 w 2000414"/>
                    <a:gd name="connsiteY13" fmla="*/ 718776 h 1923869"/>
                    <a:gd name="connsiteX14" fmla="*/ 1934095 w 2000414"/>
                    <a:gd name="connsiteY14" fmla="*/ 943327 h 1923869"/>
                    <a:gd name="connsiteX15" fmla="*/ 1626075 w 2000414"/>
                    <a:gd name="connsiteY15" fmla="*/ 1243575 h 1923869"/>
                    <a:gd name="connsiteX16" fmla="*/ 1698789 w 2000414"/>
                    <a:gd name="connsiteY16" fmla="*/ 1667532 h 1923869"/>
                    <a:gd name="connsiteX17" fmla="*/ 1611645 w 2000414"/>
                    <a:gd name="connsiteY17" fmla="*/ 1881788 h 1923869"/>
                    <a:gd name="connsiteX18" fmla="*/ 1380949 w 2000414"/>
                    <a:gd name="connsiteY18" fmla="*/ 1898466 h 1923869"/>
                    <a:gd name="connsiteX19" fmla="*/ 1000207 w 2000414"/>
                    <a:gd name="connsiteY19" fmla="*/ 1698308 h 1923869"/>
                    <a:gd name="connsiteX20" fmla="*/ 619464 w 2000414"/>
                    <a:gd name="connsiteY20" fmla="*/ 1898485 h 1923869"/>
                    <a:gd name="connsiteX21" fmla="*/ 517327 w 2000414"/>
                    <a:gd name="connsiteY21" fmla="*/ 1923869 h 19238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000414" h="1923869">
                      <a:moveTo>
                        <a:pt x="517327" y="1923869"/>
                      </a:moveTo>
                      <a:cubicBezTo>
                        <a:pt x="472093" y="1923869"/>
                        <a:pt x="427173" y="1909696"/>
                        <a:pt x="388768" y="1881797"/>
                      </a:cubicBezTo>
                      <a:cubicBezTo>
                        <a:pt x="320817" y="1832420"/>
                        <a:pt x="287422" y="1750324"/>
                        <a:pt x="301624" y="1667542"/>
                      </a:cubicBezTo>
                      <a:lnTo>
                        <a:pt x="374338" y="1243584"/>
                      </a:lnTo>
                      <a:lnTo>
                        <a:pt x="66318" y="943337"/>
                      </a:lnTo>
                      <a:cubicBezTo>
                        <a:pt x="6178" y="884711"/>
                        <a:pt x="-15073" y="798671"/>
                        <a:pt x="10883" y="718785"/>
                      </a:cubicBezTo>
                      <a:cubicBezTo>
                        <a:pt x="36839" y="638889"/>
                        <a:pt x="104599" y="581768"/>
                        <a:pt x="187724" y="569700"/>
                      </a:cubicBezTo>
                      <a:lnTo>
                        <a:pt x="613396" y="507844"/>
                      </a:lnTo>
                      <a:lnTo>
                        <a:pt x="803763" y="122120"/>
                      </a:lnTo>
                      <a:cubicBezTo>
                        <a:pt x="840939" y="46787"/>
                        <a:pt x="916215" y="0"/>
                        <a:pt x="1000207" y="0"/>
                      </a:cubicBezTo>
                      <a:cubicBezTo>
                        <a:pt x="1084198" y="0"/>
                        <a:pt x="1159474" y="46787"/>
                        <a:pt x="1196650" y="122111"/>
                      </a:cubicBezTo>
                      <a:lnTo>
                        <a:pt x="1387017" y="507835"/>
                      </a:lnTo>
                      <a:lnTo>
                        <a:pt x="1812699" y="569690"/>
                      </a:lnTo>
                      <a:cubicBezTo>
                        <a:pt x="1895814" y="581768"/>
                        <a:pt x="1963575" y="638889"/>
                        <a:pt x="1989530" y="718776"/>
                      </a:cubicBezTo>
                      <a:cubicBezTo>
                        <a:pt x="2015486" y="798662"/>
                        <a:pt x="1994245" y="884701"/>
                        <a:pt x="1934095" y="943327"/>
                      </a:cubicBezTo>
                      <a:lnTo>
                        <a:pt x="1626075" y="1243575"/>
                      </a:lnTo>
                      <a:lnTo>
                        <a:pt x="1698789" y="1667532"/>
                      </a:lnTo>
                      <a:cubicBezTo>
                        <a:pt x="1712991" y="1750314"/>
                        <a:pt x="1679596" y="1832420"/>
                        <a:pt x="1611645" y="1881788"/>
                      </a:cubicBezTo>
                      <a:cubicBezTo>
                        <a:pt x="1543684" y="1931165"/>
                        <a:pt x="1455302" y="1937537"/>
                        <a:pt x="1380949" y="1898466"/>
                      </a:cubicBezTo>
                      <a:lnTo>
                        <a:pt x="1000207" y="1698308"/>
                      </a:lnTo>
                      <a:lnTo>
                        <a:pt x="619464" y="1898485"/>
                      </a:lnTo>
                      <a:cubicBezTo>
                        <a:pt x="587136" y="1915478"/>
                        <a:pt x="552141" y="1923869"/>
                        <a:pt x="517327" y="192386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61" name="Vrije vorm: vorm 160">
                  <a:extLst>
                    <a:ext uri="{FF2B5EF4-FFF2-40B4-BE49-F238E27FC236}">
                      <a16:creationId xmlns:a16="http://schemas.microsoft.com/office/drawing/2014/main" id="{1BBBA852-D340-E07F-3297-F208A180467C}"/>
                    </a:ext>
                  </a:extLst>
                </p:cNvPr>
                <p:cNvSpPr/>
                <p:nvPr/>
              </p:nvSpPr>
              <p:spPr>
                <a:xfrm>
                  <a:off x="10445613" y="3476168"/>
                  <a:ext cx="233843" cy="225247"/>
                </a:xfrm>
                <a:custGeom>
                  <a:avLst/>
                  <a:gdLst>
                    <a:gd name="connsiteX0" fmla="*/ 1185321 w 1619410"/>
                    <a:gd name="connsiteY0" fmla="*/ 1559881 h 1559880"/>
                    <a:gd name="connsiteX1" fmla="*/ 1091071 w 1619410"/>
                    <a:gd name="connsiteY1" fmla="*/ 1536449 h 1559880"/>
                    <a:gd name="connsiteX2" fmla="*/ 809712 w 1619410"/>
                    <a:gd name="connsiteY2" fmla="*/ 1388526 h 1559880"/>
                    <a:gd name="connsiteX3" fmla="*/ 528353 w 1619410"/>
                    <a:gd name="connsiteY3" fmla="*/ 1536449 h 1559880"/>
                    <a:gd name="connsiteX4" fmla="*/ 315488 w 1619410"/>
                    <a:gd name="connsiteY4" fmla="*/ 1521066 h 1559880"/>
                    <a:gd name="connsiteX5" fmla="*/ 235078 w 1619410"/>
                    <a:gd name="connsiteY5" fmla="*/ 1323375 h 1559880"/>
                    <a:gd name="connsiteX6" fmla="*/ 288818 w 1619410"/>
                    <a:gd name="connsiteY6" fmla="*/ 1010069 h 1559880"/>
                    <a:gd name="connsiteX7" fmla="*/ 61190 w 1619410"/>
                    <a:gd name="connsiteY7" fmla="*/ 788194 h 1559880"/>
                    <a:gd name="connsiteX8" fmla="*/ 10041 w 1619410"/>
                    <a:gd name="connsiteY8" fmla="*/ 581006 h 1559880"/>
                    <a:gd name="connsiteX9" fmla="*/ 173194 w 1619410"/>
                    <a:gd name="connsiteY9" fmla="*/ 443427 h 1559880"/>
                    <a:gd name="connsiteX10" fmla="*/ 487776 w 1619410"/>
                    <a:gd name="connsiteY10" fmla="*/ 397716 h 1559880"/>
                    <a:gd name="connsiteX11" fmla="*/ 628451 w 1619410"/>
                    <a:gd name="connsiteY11" fmla="*/ 112671 h 1559880"/>
                    <a:gd name="connsiteX12" fmla="*/ 809712 w 1619410"/>
                    <a:gd name="connsiteY12" fmla="*/ 0 h 1559880"/>
                    <a:gd name="connsiteX13" fmla="*/ 990963 w 1619410"/>
                    <a:gd name="connsiteY13" fmla="*/ 112671 h 1559880"/>
                    <a:gd name="connsiteX14" fmla="*/ 1131638 w 1619410"/>
                    <a:gd name="connsiteY14" fmla="*/ 397716 h 1559880"/>
                    <a:gd name="connsiteX15" fmla="*/ 1446201 w 1619410"/>
                    <a:gd name="connsiteY15" fmla="*/ 443427 h 1559880"/>
                    <a:gd name="connsiteX16" fmla="*/ 1609374 w 1619410"/>
                    <a:gd name="connsiteY16" fmla="*/ 581006 h 1559880"/>
                    <a:gd name="connsiteX17" fmla="*/ 1558225 w 1619410"/>
                    <a:gd name="connsiteY17" fmla="*/ 788194 h 1559880"/>
                    <a:gd name="connsiteX18" fmla="*/ 1330606 w 1619410"/>
                    <a:gd name="connsiteY18" fmla="*/ 1010069 h 1559880"/>
                    <a:gd name="connsiteX19" fmla="*/ 1384346 w 1619410"/>
                    <a:gd name="connsiteY19" fmla="*/ 1323366 h 1559880"/>
                    <a:gd name="connsiteX20" fmla="*/ 1303936 w 1619410"/>
                    <a:gd name="connsiteY20" fmla="*/ 1521066 h 1559880"/>
                    <a:gd name="connsiteX21" fmla="*/ 1185321 w 1619410"/>
                    <a:gd name="connsiteY21" fmla="*/ 1559881 h 1559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19410" h="1559880">
                      <a:moveTo>
                        <a:pt x="1185321" y="1559881"/>
                      </a:moveTo>
                      <a:cubicBezTo>
                        <a:pt x="1153193" y="1559881"/>
                        <a:pt x="1120913" y="1552137"/>
                        <a:pt x="1091071" y="1536449"/>
                      </a:cubicBezTo>
                      <a:lnTo>
                        <a:pt x="809712" y="1388526"/>
                      </a:lnTo>
                      <a:lnTo>
                        <a:pt x="528353" y="1536449"/>
                      </a:lnTo>
                      <a:cubicBezTo>
                        <a:pt x="459754" y="1572501"/>
                        <a:pt x="378182" y="1566605"/>
                        <a:pt x="315488" y="1521066"/>
                      </a:cubicBezTo>
                      <a:cubicBezTo>
                        <a:pt x="252785" y="1475508"/>
                        <a:pt x="221972" y="1399765"/>
                        <a:pt x="235078" y="1323375"/>
                      </a:cubicBezTo>
                      <a:lnTo>
                        <a:pt x="288818" y="1010069"/>
                      </a:lnTo>
                      <a:lnTo>
                        <a:pt x="61190" y="788194"/>
                      </a:lnTo>
                      <a:cubicBezTo>
                        <a:pt x="5697" y="734101"/>
                        <a:pt x="-13905" y="654710"/>
                        <a:pt x="10041" y="581006"/>
                      </a:cubicBezTo>
                      <a:cubicBezTo>
                        <a:pt x="33986" y="507301"/>
                        <a:pt x="96499" y="454581"/>
                        <a:pt x="173194" y="443427"/>
                      </a:cubicBezTo>
                      <a:lnTo>
                        <a:pt x="487776" y="397716"/>
                      </a:lnTo>
                      <a:lnTo>
                        <a:pt x="628451" y="112671"/>
                      </a:lnTo>
                      <a:cubicBezTo>
                        <a:pt x="662760" y="43167"/>
                        <a:pt x="732207" y="0"/>
                        <a:pt x="809712" y="0"/>
                      </a:cubicBezTo>
                      <a:cubicBezTo>
                        <a:pt x="887217" y="0"/>
                        <a:pt x="956664" y="43167"/>
                        <a:pt x="990963" y="112671"/>
                      </a:cubicBezTo>
                      <a:lnTo>
                        <a:pt x="1131638" y="397716"/>
                      </a:lnTo>
                      <a:lnTo>
                        <a:pt x="1446201" y="443427"/>
                      </a:lnTo>
                      <a:cubicBezTo>
                        <a:pt x="1522915" y="454581"/>
                        <a:pt x="1585437" y="507301"/>
                        <a:pt x="1609374" y="581006"/>
                      </a:cubicBezTo>
                      <a:cubicBezTo>
                        <a:pt x="1633310" y="654710"/>
                        <a:pt x="1613717" y="734101"/>
                        <a:pt x="1558225" y="788194"/>
                      </a:cubicBezTo>
                      <a:lnTo>
                        <a:pt x="1330606" y="1010069"/>
                      </a:lnTo>
                      <a:lnTo>
                        <a:pt x="1384346" y="1323366"/>
                      </a:lnTo>
                      <a:cubicBezTo>
                        <a:pt x="1397443" y="1399765"/>
                        <a:pt x="1366639" y="1475508"/>
                        <a:pt x="1303936" y="1521066"/>
                      </a:cubicBezTo>
                      <a:cubicBezTo>
                        <a:pt x="1268512" y="1546803"/>
                        <a:pt x="1227050" y="1559881"/>
                        <a:pt x="1185321" y="155988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  <p:sp>
              <p:nvSpPr>
                <p:cNvPr id="162" name="Vrije vorm: vorm 161">
                  <a:extLst>
                    <a:ext uri="{FF2B5EF4-FFF2-40B4-BE49-F238E27FC236}">
                      <a16:creationId xmlns:a16="http://schemas.microsoft.com/office/drawing/2014/main" id="{BF0D130B-79FF-837F-ED36-51CDCA7ED91A}"/>
                    </a:ext>
                  </a:extLst>
                </p:cNvPr>
                <p:cNvSpPr/>
                <p:nvPr/>
              </p:nvSpPr>
              <p:spPr>
                <a:xfrm>
                  <a:off x="10913229" y="3476168"/>
                  <a:ext cx="233844" cy="225247"/>
                </a:xfrm>
                <a:custGeom>
                  <a:avLst/>
                  <a:gdLst>
                    <a:gd name="connsiteX0" fmla="*/ 1185311 w 1619414"/>
                    <a:gd name="connsiteY0" fmla="*/ 1559881 h 1559880"/>
                    <a:gd name="connsiteX1" fmla="*/ 1091061 w 1619414"/>
                    <a:gd name="connsiteY1" fmla="*/ 1536449 h 1559880"/>
                    <a:gd name="connsiteX2" fmla="*/ 809702 w 1619414"/>
                    <a:gd name="connsiteY2" fmla="*/ 1388526 h 1559880"/>
                    <a:gd name="connsiteX3" fmla="*/ 528343 w 1619414"/>
                    <a:gd name="connsiteY3" fmla="*/ 1536449 h 1559880"/>
                    <a:gd name="connsiteX4" fmla="*/ 315479 w 1619414"/>
                    <a:gd name="connsiteY4" fmla="*/ 1521066 h 1559880"/>
                    <a:gd name="connsiteX5" fmla="*/ 235069 w 1619414"/>
                    <a:gd name="connsiteY5" fmla="*/ 1323375 h 1559880"/>
                    <a:gd name="connsiteX6" fmla="*/ 288809 w 1619414"/>
                    <a:gd name="connsiteY6" fmla="*/ 1010069 h 1559880"/>
                    <a:gd name="connsiteX7" fmla="*/ 61190 w 1619414"/>
                    <a:gd name="connsiteY7" fmla="*/ 788194 h 1559880"/>
                    <a:gd name="connsiteX8" fmla="*/ 10040 w 1619414"/>
                    <a:gd name="connsiteY8" fmla="*/ 581006 h 1559880"/>
                    <a:gd name="connsiteX9" fmla="*/ 173194 w 1619414"/>
                    <a:gd name="connsiteY9" fmla="*/ 443427 h 1559880"/>
                    <a:gd name="connsiteX10" fmla="*/ 487776 w 1619414"/>
                    <a:gd name="connsiteY10" fmla="*/ 397716 h 1559880"/>
                    <a:gd name="connsiteX11" fmla="*/ 628451 w 1619414"/>
                    <a:gd name="connsiteY11" fmla="*/ 112671 h 1559880"/>
                    <a:gd name="connsiteX12" fmla="*/ 809702 w 1619414"/>
                    <a:gd name="connsiteY12" fmla="*/ 0 h 1559880"/>
                    <a:gd name="connsiteX13" fmla="*/ 990954 w 1619414"/>
                    <a:gd name="connsiteY13" fmla="*/ 112671 h 1559880"/>
                    <a:gd name="connsiteX14" fmla="*/ 1131638 w 1619414"/>
                    <a:gd name="connsiteY14" fmla="*/ 397716 h 1559880"/>
                    <a:gd name="connsiteX15" fmla="*/ 1446201 w 1619414"/>
                    <a:gd name="connsiteY15" fmla="*/ 443427 h 1559880"/>
                    <a:gd name="connsiteX16" fmla="*/ 1609374 w 1619414"/>
                    <a:gd name="connsiteY16" fmla="*/ 581006 h 1559880"/>
                    <a:gd name="connsiteX17" fmla="*/ 1558224 w 1619414"/>
                    <a:gd name="connsiteY17" fmla="*/ 788194 h 1559880"/>
                    <a:gd name="connsiteX18" fmla="*/ 1330606 w 1619414"/>
                    <a:gd name="connsiteY18" fmla="*/ 1010069 h 1559880"/>
                    <a:gd name="connsiteX19" fmla="*/ 1384346 w 1619414"/>
                    <a:gd name="connsiteY19" fmla="*/ 1323366 h 1559880"/>
                    <a:gd name="connsiteX20" fmla="*/ 1303936 w 1619414"/>
                    <a:gd name="connsiteY20" fmla="*/ 1521066 h 1559880"/>
                    <a:gd name="connsiteX21" fmla="*/ 1185311 w 1619414"/>
                    <a:gd name="connsiteY21" fmla="*/ 1559881 h 1559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619414" h="1559880">
                      <a:moveTo>
                        <a:pt x="1185311" y="1559881"/>
                      </a:moveTo>
                      <a:cubicBezTo>
                        <a:pt x="1153183" y="1559881"/>
                        <a:pt x="1120903" y="1552137"/>
                        <a:pt x="1091061" y="1536449"/>
                      </a:cubicBezTo>
                      <a:lnTo>
                        <a:pt x="809702" y="1388526"/>
                      </a:lnTo>
                      <a:lnTo>
                        <a:pt x="528343" y="1536449"/>
                      </a:lnTo>
                      <a:cubicBezTo>
                        <a:pt x="459744" y="1572501"/>
                        <a:pt x="378172" y="1566605"/>
                        <a:pt x="315479" y="1521066"/>
                      </a:cubicBezTo>
                      <a:cubicBezTo>
                        <a:pt x="252776" y="1475508"/>
                        <a:pt x="221962" y="1399765"/>
                        <a:pt x="235069" y="1323375"/>
                      </a:cubicBezTo>
                      <a:lnTo>
                        <a:pt x="288809" y="1010069"/>
                      </a:lnTo>
                      <a:lnTo>
                        <a:pt x="61190" y="788194"/>
                      </a:lnTo>
                      <a:cubicBezTo>
                        <a:pt x="5697" y="734101"/>
                        <a:pt x="-13905" y="654710"/>
                        <a:pt x="10040" y="581006"/>
                      </a:cubicBezTo>
                      <a:cubicBezTo>
                        <a:pt x="33986" y="507301"/>
                        <a:pt x="96499" y="454581"/>
                        <a:pt x="173194" y="443427"/>
                      </a:cubicBezTo>
                      <a:lnTo>
                        <a:pt x="487776" y="397716"/>
                      </a:lnTo>
                      <a:lnTo>
                        <a:pt x="628451" y="112671"/>
                      </a:lnTo>
                      <a:cubicBezTo>
                        <a:pt x="662751" y="43167"/>
                        <a:pt x="732198" y="0"/>
                        <a:pt x="809702" y="0"/>
                      </a:cubicBezTo>
                      <a:cubicBezTo>
                        <a:pt x="887207" y="0"/>
                        <a:pt x="956654" y="43167"/>
                        <a:pt x="990954" y="112671"/>
                      </a:cubicBezTo>
                      <a:lnTo>
                        <a:pt x="1131638" y="397716"/>
                      </a:lnTo>
                      <a:lnTo>
                        <a:pt x="1446201" y="443427"/>
                      </a:lnTo>
                      <a:cubicBezTo>
                        <a:pt x="1522915" y="454581"/>
                        <a:pt x="1585438" y="507301"/>
                        <a:pt x="1609374" y="581006"/>
                      </a:cubicBezTo>
                      <a:cubicBezTo>
                        <a:pt x="1633320" y="654710"/>
                        <a:pt x="1613717" y="734101"/>
                        <a:pt x="1558224" y="788194"/>
                      </a:cubicBezTo>
                      <a:lnTo>
                        <a:pt x="1330606" y="1010069"/>
                      </a:lnTo>
                      <a:lnTo>
                        <a:pt x="1384346" y="1323366"/>
                      </a:lnTo>
                      <a:cubicBezTo>
                        <a:pt x="1397443" y="1399765"/>
                        <a:pt x="1366639" y="1475508"/>
                        <a:pt x="1303936" y="1521066"/>
                      </a:cubicBezTo>
                      <a:cubicBezTo>
                        <a:pt x="1268493" y="1546803"/>
                        <a:pt x="1227040" y="1559881"/>
                        <a:pt x="1185311" y="155988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sz="2968"/>
                </a:p>
              </p:txBody>
            </p:sp>
          </p:grpSp>
        </p:grp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D68BA8EB-A5A8-5F8C-5EF3-918A3552DA5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220663" y="217306"/>
            <a:ext cx="1598411" cy="59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03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4C880A0-3866-1672-5448-E8DCCA7941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4C880A0-3866-1672-5448-E8DCCA794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E3402639-F8FC-6F02-898C-D063676BCAA6}"/>
              </a:ext>
            </a:extLst>
          </p:cNvPr>
          <p:cNvCxnSpPr>
            <a:stCxn id="49" idx="2"/>
            <a:endCxn id="51" idx="0"/>
          </p:cNvCxnSpPr>
          <p:nvPr/>
        </p:nvCxnSpPr>
        <p:spPr>
          <a:xfrm rot="5400000" flipH="1">
            <a:off x="13708562" y="8112292"/>
            <a:ext cx="3277527" cy="20942"/>
          </a:xfrm>
          <a:prstGeom prst="bentConnector5">
            <a:avLst>
              <a:gd name="adj1" fmla="val 1278"/>
              <a:gd name="adj2" fmla="val 17925850"/>
              <a:gd name="adj3" fmla="val 100639"/>
            </a:avLst>
          </a:prstGeom>
          <a:ln w="28575"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1A0E7BFD-907F-9A78-0B6A-FA9849D9E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GB">
                <a:latin typeface="Roc Grotesk"/>
              </a:rPr>
              <a:t>Living Incom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40149BC-7672-E996-4612-B66F5CFB1C67}"/>
              </a:ext>
            </a:extLst>
          </p:cNvPr>
          <p:cNvSpPr/>
          <p:nvPr/>
        </p:nvSpPr>
        <p:spPr>
          <a:xfrm>
            <a:off x="4568674" y="3734017"/>
            <a:ext cx="4391788" cy="6057849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2968" b="1">
                <a:solidFill>
                  <a:schemeClr val="tx1"/>
                </a:solidFill>
                <a:latin typeface="Roc Grotesk"/>
                <a:cs typeface="Arial" panose="020B0604020202020204" pitchFamily="34" charset="0"/>
              </a:rPr>
              <a:t>Cost of a basic, decent standard of living for a household</a:t>
            </a:r>
            <a:endParaRPr lang="en-GB" sz="2968">
              <a:solidFill>
                <a:schemeClr val="tx1"/>
              </a:solidFill>
              <a:latin typeface="Roc Grotesk"/>
              <a:cs typeface="Arial" panose="020B0604020202020204" pitchFamily="34" charset="0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C1F4EB81-871A-83F3-F980-318F00F8157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54899" y="5338429"/>
            <a:ext cx="1007352" cy="1007352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BA3A7AB-0EF4-51E3-4479-BD845061C0B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10825" y="6994440"/>
            <a:ext cx="992238" cy="992238"/>
          </a:xfrm>
          <a:prstGeom prst="rect">
            <a:avLst/>
          </a:prstGeom>
        </p:spPr>
      </p:pic>
      <p:pic>
        <p:nvPicPr>
          <p:cNvPr id="25" name="Graphic 24" descr="House with solid fill">
            <a:extLst>
              <a:ext uri="{FF2B5EF4-FFF2-40B4-BE49-F238E27FC236}">
                <a16:creationId xmlns:a16="http://schemas.microsoft.com/office/drawing/2014/main" id="{6AC28644-766B-ABD6-325E-B9441574AA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33865" y="5416546"/>
            <a:ext cx="851118" cy="851118"/>
          </a:xfrm>
          <a:prstGeom prst="rect">
            <a:avLst/>
          </a:prstGeom>
        </p:spPr>
      </p:pic>
      <p:pic>
        <p:nvPicPr>
          <p:cNvPr id="29" name="Graphic 28" descr="Doctor female with solid fill">
            <a:extLst>
              <a:ext uri="{FF2B5EF4-FFF2-40B4-BE49-F238E27FC236}">
                <a16:creationId xmlns:a16="http://schemas.microsoft.com/office/drawing/2014/main" id="{3388181C-6484-D1F5-956C-CD8FC77EF96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13449" y="7069090"/>
            <a:ext cx="851118" cy="851118"/>
          </a:xfrm>
          <a:prstGeom prst="rect">
            <a:avLst/>
          </a:prstGeom>
        </p:spPr>
      </p:pic>
      <p:pic>
        <p:nvPicPr>
          <p:cNvPr id="31" name="Graphic 30" descr="Formal Shirt with solid fill">
            <a:extLst>
              <a:ext uri="{FF2B5EF4-FFF2-40B4-BE49-F238E27FC236}">
                <a16:creationId xmlns:a16="http://schemas.microsoft.com/office/drawing/2014/main" id="{0A3D84C7-1AA3-0412-7595-835747B2BA3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74852" y="7171121"/>
            <a:ext cx="703404" cy="703404"/>
          </a:xfrm>
          <a:prstGeom prst="rect">
            <a:avLst/>
          </a:prstGeom>
        </p:spPr>
      </p:pic>
      <p:pic>
        <p:nvPicPr>
          <p:cNvPr id="34" name="Graphic 33" descr="Fire with solid fill">
            <a:extLst>
              <a:ext uri="{FF2B5EF4-FFF2-40B4-BE49-F238E27FC236}">
                <a16:creationId xmlns:a16="http://schemas.microsoft.com/office/drawing/2014/main" id="{E0277AE7-5952-0075-517C-D20B2D92375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72924" y="8516920"/>
            <a:ext cx="703404" cy="70340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69C363D-9874-8B4E-78EC-20F921AF059F}"/>
              </a:ext>
            </a:extLst>
          </p:cNvPr>
          <p:cNvSpPr txBox="1"/>
          <p:nvPr/>
        </p:nvSpPr>
        <p:spPr>
          <a:xfrm>
            <a:off x="5236346" y="6160766"/>
            <a:ext cx="1644457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Food for model die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13A024-3BBF-0531-4AD9-9B315A02781A}"/>
              </a:ext>
            </a:extLst>
          </p:cNvPr>
          <p:cNvSpPr txBox="1"/>
          <p:nvPr/>
        </p:nvSpPr>
        <p:spPr>
          <a:xfrm>
            <a:off x="6879894" y="6160766"/>
            <a:ext cx="1359055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Decent Hous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143FE5A-D5BA-793A-D4BD-E23C0E951A0E}"/>
              </a:ext>
            </a:extLst>
          </p:cNvPr>
          <p:cNvSpPr txBox="1"/>
          <p:nvPr/>
        </p:nvSpPr>
        <p:spPr>
          <a:xfrm>
            <a:off x="5154833" y="7901480"/>
            <a:ext cx="3295171" cy="396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Other essential item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D61A8B9-7773-3409-3BC3-E1B7E4650C9A}"/>
              </a:ext>
            </a:extLst>
          </p:cNvPr>
          <p:cNvSpPr txBox="1"/>
          <p:nvPr/>
        </p:nvSpPr>
        <p:spPr>
          <a:xfrm>
            <a:off x="5154833" y="9294297"/>
            <a:ext cx="3295171" cy="396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Unexpected Event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90AAC1C-E085-7660-F073-24341D835926}"/>
              </a:ext>
            </a:extLst>
          </p:cNvPr>
          <p:cNvGrpSpPr/>
          <p:nvPr/>
        </p:nvGrpSpPr>
        <p:grpSpPr>
          <a:xfrm>
            <a:off x="1725350" y="2635444"/>
            <a:ext cx="2019755" cy="1761891"/>
            <a:chOff x="1479748" y="1598007"/>
            <a:chExt cx="1224867" cy="971352"/>
          </a:xfrm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2B450F45-9FCE-AB28-E507-6EF3DCBAF5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479748" y="1598007"/>
              <a:ext cx="971352" cy="971352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B4C3EC86-D1BA-7D6A-F473-8FF77D89B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965424" y="1626094"/>
              <a:ext cx="739191" cy="739191"/>
            </a:xfrm>
            <a:prstGeom prst="rect">
              <a:avLst/>
            </a:prstGeom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D8D65743-D8A7-25E9-AF04-F0F6B7CBDB49}"/>
              </a:ext>
            </a:extLst>
          </p:cNvPr>
          <p:cNvSpPr txBox="1"/>
          <p:nvPr/>
        </p:nvSpPr>
        <p:spPr>
          <a:xfrm>
            <a:off x="1389941" y="4343572"/>
            <a:ext cx="2188773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Living Income Benchmark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B6AD8A4-2E0F-8F3C-23B5-286A7E4C6D0A}"/>
              </a:ext>
            </a:extLst>
          </p:cNvPr>
          <p:cNvCxnSpPr>
            <a:cxnSpLocks/>
          </p:cNvCxnSpPr>
          <p:nvPr/>
        </p:nvCxnSpPr>
        <p:spPr>
          <a:xfrm>
            <a:off x="3135656" y="3734016"/>
            <a:ext cx="15607229" cy="0"/>
          </a:xfrm>
          <a:prstGeom prst="line">
            <a:avLst/>
          </a:prstGeom>
          <a:ln w="28575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rrow: Up 45">
            <a:extLst>
              <a:ext uri="{FF2B5EF4-FFF2-40B4-BE49-F238E27FC236}">
                <a16:creationId xmlns:a16="http://schemas.microsoft.com/office/drawing/2014/main" id="{F92B0BE2-357C-0F1F-23FA-4E1DCFB914A7}"/>
              </a:ext>
            </a:extLst>
          </p:cNvPr>
          <p:cNvSpPr/>
          <p:nvPr/>
        </p:nvSpPr>
        <p:spPr>
          <a:xfrm>
            <a:off x="13151432" y="1777642"/>
            <a:ext cx="4391786" cy="7973414"/>
          </a:xfrm>
          <a:prstGeom prst="upArrow">
            <a:avLst>
              <a:gd name="adj1" fmla="val 50000"/>
              <a:gd name="adj2" fmla="val 3366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968">
              <a:latin typeface="Roc Grotesk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EC038C9-21AE-4D0A-C914-7BE41C865537}"/>
              </a:ext>
            </a:extLst>
          </p:cNvPr>
          <p:cNvSpPr txBox="1"/>
          <p:nvPr/>
        </p:nvSpPr>
        <p:spPr>
          <a:xfrm>
            <a:off x="14252939" y="2276321"/>
            <a:ext cx="2188773" cy="701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>
              <a:defRPr/>
            </a:pPr>
            <a:r>
              <a:rPr lang="en-US" sz="1979" b="1">
                <a:latin typeface="Roc Grotesk"/>
                <a:cs typeface="Arial" panose="020B0604020202020204" pitchFamily="34" charset="0"/>
              </a:rPr>
              <a:t>Potential Household Incom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D8C089-C938-3C22-CE92-1EA36A450692}"/>
              </a:ext>
            </a:extLst>
          </p:cNvPr>
          <p:cNvSpPr/>
          <p:nvPr/>
        </p:nvSpPr>
        <p:spPr>
          <a:xfrm>
            <a:off x="14252939" y="7986455"/>
            <a:ext cx="2188773" cy="1764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979" b="1">
                <a:latin typeface="Roc Grotesk"/>
                <a:cs typeface="Arial" panose="020B0604020202020204" pitchFamily="34" charset="0"/>
              </a:rPr>
              <a:t>Focus Crop Incom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ED23EA4-E099-1A2E-5652-A19886A03E4E}"/>
              </a:ext>
            </a:extLst>
          </p:cNvPr>
          <p:cNvSpPr/>
          <p:nvPr/>
        </p:nvSpPr>
        <p:spPr>
          <a:xfrm>
            <a:off x="14252939" y="7226537"/>
            <a:ext cx="2188773" cy="744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979" b="1">
                <a:latin typeface="Roc Grotesk"/>
                <a:cs typeface="Arial" panose="020B0604020202020204" pitchFamily="34" charset="0"/>
              </a:rPr>
              <a:t>Other Farm Incom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ABA1447-1B61-CCA9-1B5E-4ECBC0192FDA}"/>
              </a:ext>
            </a:extLst>
          </p:cNvPr>
          <p:cNvSpPr/>
          <p:nvPr/>
        </p:nvSpPr>
        <p:spPr>
          <a:xfrm>
            <a:off x="14252939" y="6473529"/>
            <a:ext cx="2188773" cy="744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979" b="1">
                <a:latin typeface="Roc Grotesk"/>
                <a:cs typeface="Arial" panose="020B0604020202020204" pitchFamily="34" charset="0"/>
              </a:rPr>
              <a:t>Off Farm Income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93C4991-1197-B3A5-C03A-0E1EFF0ED806}"/>
              </a:ext>
            </a:extLst>
          </p:cNvPr>
          <p:cNvGrpSpPr/>
          <p:nvPr/>
        </p:nvGrpSpPr>
        <p:grpSpPr>
          <a:xfrm>
            <a:off x="10473704" y="7140553"/>
            <a:ext cx="2188773" cy="1646386"/>
            <a:chOff x="6351709" y="4322452"/>
            <a:chExt cx="1327367" cy="99844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7F8EB90-AE7B-B60A-1132-77558390BAF8}"/>
                </a:ext>
              </a:extLst>
            </p:cNvPr>
            <p:cNvSpPr/>
            <p:nvPr/>
          </p:nvSpPr>
          <p:spPr>
            <a:xfrm>
              <a:off x="6427909" y="4431735"/>
              <a:ext cx="1166862" cy="7254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968">
                <a:latin typeface="Roc Grotesk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451E949-8CB4-2C71-9290-556CD89E4880}"/>
                </a:ext>
              </a:extLst>
            </p:cNvPr>
            <p:cNvSpPr txBox="1"/>
            <p:nvPr/>
          </p:nvSpPr>
          <p:spPr>
            <a:xfrm>
              <a:off x="6351709" y="4833894"/>
              <a:ext cx="1327367" cy="48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>
                <a:defRPr/>
              </a:pPr>
              <a:r>
                <a:rPr lang="en-US" sz="2309" b="1">
                  <a:solidFill>
                    <a:schemeClr val="accent2">
                      <a:lumMod val="50000"/>
                    </a:schemeClr>
                  </a:solidFill>
                  <a:latin typeface="Roc Grotesk"/>
                  <a:cs typeface="Arial" panose="020B0604020202020204" pitchFamily="34" charset="0"/>
                </a:rPr>
                <a:t>Net Household Income</a:t>
              </a: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B984002A-F9EF-FFC4-C8FF-FBF3DAEE9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726377" y="4322452"/>
              <a:ext cx="620726" cy="620726"/>
            </a:xfrm>
            <a:prstGeom prst="rect">
              <a:avLst/>
            </a:prstGeom>
          </p:spPr>
        </p:pic>
      </p:grp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8FA9B86-A212-D039-4D99-5045264486D3}"/>
              </a:ext>
            </a:extLst>
          </p:cNvPr>
          <p:cNvCxnSpPr/>
          <p:nvPr/>
        </p:nvCxnSpPr>
        <p:spPr>
          <a:xfrm flipV="1">
            <a:off x="11603291" y="3794683"/>
            <a:ext cx="0" cy="2617421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22DB70C-0712-74E4-334D-44F8F805D9A1}"/>
              </a:ext>
            </a:extLst>
          </p:cNvPr>
          <p:cNvSpPr txBox="1"/>
          <p:nvPr/>
        </p:nvSpPr>
        <p:spPr>
          <a:xfrm>
            <a:off x="10508905" y="4614092"/>
            <a:ext cx="2188773" cy="80304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 defTabSz="1507846">
              <a:defRPr/>
            </a:pPr>
            <a:r>
              <a:rPr lang="en-US" sz="2309" b="1">
                <a:solidFill>
                  <a:srgbClr val="FF0000"/>
                </a:solidFill>
                <a:latin typeface="Roc Grotesk"/>
                <a:cs typeface="Arial" panose="020B0604020202020204" pitchFamily="34" charset="0"/>
              </a:rPr>
              <a:t>Living Income Ga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B3B79E-28C3-3914-76C0-5ED10DC2E7E4}"/>
              </a:ext>
            </a:extLst>
          </p:cNvPr>
          <p:cNvSpPr txBox="1"/>
          <p:nvPr/>
        </p:nvSpPr>
        <p:spPr>
          <a:xfrm>
            <a:off x="13608781" y="10720248"/>
            <a:ext cx="6140935" cy="35229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989"/>
              </a:spcAft>
              <a:buClr>
                <a:schemeClr val="accent2"/>
              </a:buClr>
            </a:pPr>
            <a:r>
              <a:rPr lang="en-GB" sz="2309">
                <a:latin typeface="Roc Grotesk"/>
              </a:rPr>
              <a:t>Adapted from Living Income Community of Practice</a:t>
            </a:r>
          </a:p>
          <a:p>
            <a:pPr>
              <a:spcAft>
                <a:spcPts val="989"/>
              </a:spcAft>
              <a:buClr>
                <a:schemeClr val="accent2"/>
              </a:buClr>
            </a:pPr>
            <a:endParaRPr lang="en-GB" sz="2309" err="1"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7960861-4750-828F-B749-C4144C15156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578777" y="7187352"/>
            <a:ext cx="776867" cy="77686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9F0A46A7-EF38-FF8A-1DEE-8D82CD015339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740730" y="8552039"/>
            <a:ext cx="755043" cy="755043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139B1A0-CF32-B2CB-4B27-AE6D0FA9B8F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8220663" y="217306"/>
            <a:ext cx="1598411" cy="59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05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/>
      <p:bldP spid="49" grpId="0" animBg="1"/>
      <p:bldP spid="50" grpId="0" animBg="1"/>
      <p:bldP spid="51" grpId="0" animBg="1"/>
      <p:bldP spid="5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333333"/>
      </a:hlink>
      <a:folHlink>
        <a:srgbClr val="800080"/>
      </a:folHlink>
    </a:clrScheme>
    <a:fontScheme name="Better Cotton Conference">
      <a:majorFont>
        <a:latin typeface="Comfortaa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 Slide Dark Green">
  <a:themeElements>
    <a:clrScheme name="IDH 2022">
      <a:dk1>
        <a:srgbClr val="00615F"/>
      </a:dk1>
      <a:lt1>
        <a:srgbClr val="FFFFFF"/>
      </a:lt1>
      <a:dk2>
        <a:srgbClr val="00615F"/>
      </a:dk2>
      <a:lt2>
        <a:srgbClr val="FFFFFF"/>
      </a:lt2>
      <a:accent1>
        <a:srgbClr val="00615F"/>
      </a:accent1>
      <a:accent2>
        <a:srgbClr val="47D985"/>
      </a:accent2>
      <a:accent3>
        <a:srgbClr val="FF5D00"/>
      </a:accent3>
      <a:accent4>
        <a:srgbClr val="FFC505"/>
      </a:accent4>
      <a:accent5>
        <a:srgbClr val="0098FF"/>
      </a:accent5>
      <a:accent6>
        <a:srgbClr val="78321E"/>
      </a:accent6>
      <a:hlink>
        <a:srgbClr val="47D985"/>
      </a:hlink>
      <a:folHlink>
        <a:srgbClr val="50F7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err="1" smtClean="0">
            <a:solidFill>
              <a:srgbClr val="00625F"/>
            </a:solidFill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H_PPT_Master_5.3" id="{2A1312F6-07B4-B244-8557-797A27295401}" vid="{9179B3D6-F7A4-5947-8F20-B40843203BF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AA2DD92FEB3C4CBC183CE5B2164187" ma:contentTypeVersion="14" ma:contentTypeDescription="Create a new document." ma:contentTypeScope="" ma:versionID="281ba124d0a5290799230fa39d6ebd5f">
  <xsd:schema xmlns:xsd="http://www.w3.org/2001/XMLSchema" xmlns:xs="http://www.w3.org/2001/XMLSchema" xmlns:p="http://schemas.microsoft.com/office/2006/metadata/properties" xmlns:ns2="03e44dea-9cd4-4bc5-b8f2-3c53490ef893" xmlns:ns3="7a9e4e6c-65b8-4f7f-b982-f96d8a0c681b" targetNamespace="http://schemas.microsoft.com/office/2006/metadata/properties" ma:root="true" ma:fieldsID="2cee3ea085981b49fb9aa8a8cf158b0d" ns2:_="" ns3:_="">
    <xsd:import namespace="03e44dea-9cd4-4bc5-b8f2-3c53490ef893"/>
    <xsd:import namespace="7a9e4e6c-65b8-4f7f-b982-f96d8a0c68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ObjectDetectorVersion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e44dea-9cd4-4bc5-b8f2-3c53490ef8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25eaf9d-f2c0-4638-b611-78ba9a34cc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9e4e6c-65b8-4f7f-b982-f96d8a0c681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1706523-3280-4896-8b02-6c0f1dbb8db4}" ma:internalName="TaxCatchAll" ma:showField="CatchAllData" ma:web="7a9e4e6c-65b8-4f7f-b982-f96d8a0c68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a9e4e6c-65b8-4f7f-b982-f96d8a0c681b" xsi:nil="true"/>
    <lcf76f155ced4ddcb4097134ff3c332f xmlns="03e44dea-9cd4-4bc5-b8f2-3c53490ef89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D50B37-8B77-4218-96DE-F22EA2D5E104}">
  <ds:schemaRefs>
    <ds:schemaRef ds:uri="03e44dea-9cd4-4bc5-b8f2-3c53490ef893"/>
    <ds:schemaRef ds:uri="7a9e4e6c-65b8-4f7f-b982-f96d8a0c681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2463118-354D-41DE-81F1-E958D357EED9}">
  <ds:schemaRefs>
    <ds:schemaRef ds:uri="03e44dea-9cd4-4bc5-b8f2-3c53490ef893"/>
    <ds:schemaRef ds:uri="7a9e4e6c-65b8-4f7f-b982-f96d8a0c681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ADCCF7D-A322-4A30-9AA4-5D6917D798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9</Words>
  <Application>Microsoft Office PowerPoint</Application>
  <PresentationFormat>Custom</PresentationFormat>
  <Paragraphs>34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6" baseType="lpstr">
      <vt:lpstr>Arial</vt:lpstr>
      <vt:lpstr>Calibri</vt:lpstr>
      <vt:lpstr>Comfortaa</vt:lpstr>
      <vt:lpstr>Overpass</vt:lpstr>
      <vt:lpstr>Roboto</vt:lpstr>
      <vt:lpstr>Roboto Bold</vt:lpstr>
      <vt:lpstr>Roboto Light</vt:lpstr>
      <vt:lpstr>Roc Grotesk</vt:lpstr>
      <vt:lpstr>Verdana</vt:lpstr>
      <vt:lpstr>Office Theme</vt:lpstr>
      <vt:lpstr>Master Slide Dark Green</vt:lpstr>
      <vt:lpstr>think-cell Slide</vt:lpstr>
      <vt:lpstr>PowerPoint Presentation</vt:lpstr>
      <vt:lpstr>Better income means being able to earn… </vt:lpstr>
      <vt:lpstr>How much is “more” income?</vt:lpstr>
      <vt:lpstr>Living Inco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a Cruz</dc:creator>
  <cp:lastModifiedBy>Joe Morphet</cp:lastModifiedBy>
  <cp:revision>2</cp:revision>
  <dcterms:created xsi:type="dcterms:W3CDTF">2022-02-07T21:37:15Z</dcterms:created>
  <dcterms:modified xsi:type="dcterms:W3CDTF">2023-06-22T11:4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2-07T00:00:00Z</vt:filetime>
  </property>
  <property fmtid="{D5CDD505-2E9C-101B-9397-08002B2CF9AE}" pid="3" name="Creator">
    <vt:lpwstr>Adobe InDesign 17.1 (Windows)</vt:lpwstr>
  </property>
  <property fmtid="{D5CDD505-2E9C-101B-9397-08002B2CF9AE}" pid="4" name="LastSaved">
    <vt:filetime>2022-02-07T00:00:00Z</vt:filetime>
  </property>
  <property fmtid="{D5CDD505-2E9C-101B-9397-08002B2CF9AE}" pid="5" name="ContentTypeId">
    <vt:lpwstr>0x010100C0AA2DD92FEB3C4CBC183CE5B2164187</vt:lpwstr>
  </property>
  <property fmtid="{D5CDD505-2E9C-101B-9397-08002B2CF9AE}" pid="6" name="MediaServiceImageTags">
    <vt:lpwstr/>
  </property>
</Properties>
</file>